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  <p:sldMasterId id="2147483675" r:id="rId3"/>
  </p:sldMasterIdLst>
  <p:notesMasterIdLst>
    <p:notesMasterId r:id="rId31"/>
  </p:notesMasterIdLst>
  <p:sldIdLst>
    <p:sldId id="3477" r:id="rId4"/>
    <p:sldId id="617" r:id="rId5"/>
    <p:sldId id="3475" r:id="rId6"/>
    <p:sldId id="259" r:id="rId7"/>
    <p:sldId id="262" r:id="rId8"/>
    <p:sldId id="271" r:id="rId9"/>
    <p:sldId id="3476" r:id="rId10"/>
    <p:sldId id="304" r:id="rId11"/>
    <p:sldId id="3470" r:id="rId12"/>
    <p:sldId id="296" r:id="rId13"/>
    <p:sldId id="3471" r:id="rId14"/>
    <p:sldId id="298" r:id="rId15"/>
    <p:sldId id="260" r:id="rId16"/>
    <p:sldId id="3478" r:id="rId17"/>
    <p:sldId id="302" r:id="rId18"/>
    <p:sldId id="303" r:id="rId19"/>
    <p:sldId id="268" r:id="rId20"/>
    <p:sldId id="256" r:id="rId21"/>
    <p:sldId id="293" r:id="rId22"/>
    <p:sldId id="290" r:id="rId23"/>
    <p:sldId id="291" r:id="rId24"/>
    <p:sldId id="292" r:id="rId25"/>
    <p:sldId id="270" r:id="rId26"/>
    <p:sldId id="3472" r:id="rId27"/>
    <p:sldId id="280" r:id="rId28"/>
    <p:sldId id="3473" r:id="rId29"/>
    <p:sldId id="273" r:id="rId30"/>
  </p:sldIdLst>
  <p:sldSz cx="12192000" cy="6858000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4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B2A3"/>
    <a:srgbClr val="E9DECA"/>
    <a:srgbClr val="486255"/>
    <a:srgbClr val="FF5050"/>
    <a:srgbClr val="D89687"/>
    <a:srgbClr val="D0959A"/>
    <a:srgbClr val="F8A49A"/>
    <a:srgbClr val="E7A29D"/>
    <a:srgbClr val="D1959A"/>
    <a:srgbClr val="D284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5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32" y="72"/>
      </p:cViewPr>
      <p:guideLst>
        <p:guide orient="horz" pos="214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Relationship Id="rId8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FE3BA9D-1D10-4712-AFC0-AC18CF9D1237}" type="doc">
      <dgm:prSet loTypeId="urn:microsoft.com/office/officeart/2005/8/layout/vList2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5FFF9048-996A-4E77-B19F-A7E59A7386AF}">
      <dgm:prSet/>
      <dgm:spPr>
        <a:solidFill>
          <a:schemeClr val="bg2">
            <a:lumMod val="50000"/>
          </a:schemeClr>
        </a:solidFill>
      </dgm:spPr>
      <dgm:t>
        <a:bodyPr/>
        <a:lstStyle/>
        <a:p>
          <a:r>
            <a:rPr lang="en-US" b="0" i="0" baseline="0" dirty="0"/>
            <a:t>Emphasis on harmony and unity</a:t>
          </a:r>
          <a:endParaRPr lang="zh-CN" dirty="0"/>
        </a:p>
      </dgm:t>
    </dgm:pt>
    <dgm:pt modelId="{DD625113-B35F-4EE8-9202-B0FD11E035E0}" type="parTrans" cxnId="{C68B29A9-2F9C-4803-B8A9-1C4B328E9933}">
      <dgm:prSet/>
      <dgm:spPr/>
      <dgm:t>
        <a:bodyPr/>
        <a:lstStyle/>
        <a:p>
          <a:endParaRPr lang="zh-CN" altLang="en-US"/>
        </a:p>
      </dgm:t>
    </dgm:pt>
    <dgm:pt modelId="{0A5B7A25-C6AD-4E22-8FA0-D6010EE0894B}" type="sibTrans" cxnId="{C68B29A9-2F9C-4803-B8A9-1C4B328E9933}">
      <dgm:prSet/>
      <dgm:spPr/>
      <dgm:t>
        <a:bodyPr/>
        <a:lstStyle/>
        <a:p>
          <a:endParaRPr lang="zh-CN" altLang="en-US"/>
        </a:p>
      </dgm:t>
    </dgm:pt>
    <dgm:pt modelId="{2B5B19CE-9AA8-474E-93D6-121B77D6467D}">
      <dgm:prSet/>
      <dgm:spPr>
        <a:solidFill>
          <a:schemeClr val="bg2">
            <a:lumMod val="50000"/>
          </a:schemeClr>
        </a:solidFill>
      </dgm:spPr>
      <dgm:t>
        <a:bodyPr/>
        <a:lstStyle/>
        <a:p>
          <a:r>
            <a:rPr lang="en-US" b="0" i="0" baseline="0" dirty="0"/>
            <a:t>Core values in Confucianism (e.g., benevolence, harmony)</a:t>
          </a:r>
          <a:endParaRPr lang="zh-CN" dirty="0"/>
        </a:p>
      </dgm:t>
    </dgm:pt>
    <dgm:pt modelId="{A1532D62-F7EC-4EDD-BDF2-7EF35FEF0E3C}" type="parTrans" cxnId="{2B157DB5-ACAE-4367-A3F6-3808989F455D}">
      <dgm:prSet/>
      <dgm:spPr/>
      <dgm:t>
        <a:bodyPr/>
        <a:lstStyle/>
        <a:p>
          <a:endParaRPr lang="zh-CN" altLang="en-US"/>
        </a:p>
      </dgm:t>
    </dgm:pt>
    <dgm:pt modelId="{1D82B84A-B1B1-4177-84BB-C81DFD61E143}" type="sibTrans" cxnId="{2B157DB5-ACAE-4367-A3F6-3808989F455D}">
      <dgm:prSet/>
      <dgm:spPr/>
      <dgm:t>
        <a:bodyPr/>
        <a:lstStyle/>
        <a:p>
          <a:endParaRPr lang="zh-CN" altLang="en-US"/>
        </a:p>
      </dgm:t>
    </dgm:pt>
    <dgm:pt modelId="{E10E95AB-568B-4CD1-AA9E-D49D7E6A7867}" type="pres">
      <dgm:prSet presAssocID="{5FE3BA9D-1D10-4712-AFC0-AC18CF9D1237}" presName="linear" presStyleCnt="0">
        <dgm:presLayoutVars>
          <dgm:animLvl val="lvl"/>
          <dgm:resizeHandles val="exact"/>
        </dgm:presLayoutVars>
      </dgm:prSet>
      <dgm:spPr/>
    </dgm:pt>
    <dgm:pt modelId="{24369605-DAEA-46D0-BE54-AC2DDD0F65BC}" type="pres">
      <dgm:prSet presAssocID="{5FFF9048-996A-4E77-B19F-A7E59A7386AF}" presName="parentText" presStyleLbl="node1" presStyleIdx="0" presStyleCnt="2" custLinFactY="-5691" custLinFactNeighborX="224" custLinFactNeighborY="-100000">
        <dgm:presLayoutVars>
          <dgm:chMax val="0"/>
          <dgm:bulletEnabled val="1"/>
        </dgm:presLayoutVars>
      </dgm:prSet>
      <dgm:spPr/>
    </dgm:pt>
    <dgm:pt modelId="{9AE9C823-F7D9-4672-8701-CF57C147E06B}" type="pres">
      <dgm:prSet presAssocID="{0A5B7A25-C6AD-4E22-8FA0-D6010EE0894B}" presName="spacer" presStyleCnt="0"/>
      <dgm:spPr/>
    </dgm:pt>
    <dgm:pt modelId="{CD72F689-5682-4AE3-A120-71A95FDAEA99}" type="pres">
      <dgm:prSet presAssocID="{2B5B19CE-9AA8-474E-93D6-121B77D6467D}" presName="parentText" presStyleLbl="node1" presStyleIdx="1" presStyleCnt="2" custLinFactY="10994" custLinFactNeighborX="440" custLinFactNeighborY="100000">
        <dgm:presLayoutVars>
          <dgm:chMax val="0"/>
          <dgm:bulletEnabled val="1"/>
        </dgm:presLayoutVars>
      </dgm:prSet>
      <dgm:spPr/>
    </dgm:pt>
  </dgm:ptLst>
  <dgm:cxnLst>
    <dgm:cxn modelId="{A7715A84-67BD-45B4-ACE6-589AD8490780}" type="presOf" srcId="{5FFF9048-996A-4E77-B19F-A7E59A7386AF}" destId="{24369605-DAEA-46D0-BE54-AC2DDD0F65BC}" srcOrd="0" destOrd="0" presId="urn:microsoft.com/office/officeart/2005/8/layout/vList2"/>
    <dgm:cxn modelId="{C68B29A9-2F9C-4803-B8A9-1C4B328E9933}" srcId="{5FE3BA9D-1D10-4712-AFC0-AC18CF9D1237}" destId="{5FFF9048-996A-4E77-B19F-A7E59A7386AF}" srcOrd="0" destOrd="0" parTransId="{DD625113-B35F-4EE8-9202-B0FD11E035E0}" sibTransId="{0A5B7A25-C6AD-4E22-8FA0-D6010EE0894B}"/>
    <dgm:cxn modelId="{2B157DB5-ACAE-4367-A3F6-3808989F455D}" srcId="{5FE3BA9D-1D10-4712-AFC0-AC18CF9D1237}" destId="{2B5B19CE-9AA8-474E-93D6-121B77D6467D}" srcOrd="1" destOrd="0" parTransId="{A1532D62-F7EC-4EDD-BDF2-7EF35FEF0E3C}" sibTransId="{1D82B84A-B1B1-4177-84BB-C81DFD61E143}"/>
    <dgm:cxn modelId="{C082E0C5-26C3-45E5-96E0-5F13D5BF25B5}" type="presOf" srcId="{2B5B19CE-9AA8-474E-93D6-121B77D6467D}" destId="{CD72F689-5682-4AE3-A120-71A95FDAEA99}" srcOrd="0" destOrd="0" presId="urn:microsoft.com/office/officeart/2005/8/layout/vList2"/>
    <dgm:cxn modelId="{529F9EF8-2A24-42DA-9218-704D47E78741}" type="presOf" srcId="{5FE3BA9D-1D10-4712-AFC0-AC18CF9D1237}" destId="{E10E95AB-568B-4CD1-AA9E-D49D7E6A7867}" srcOrd="0" destOrd="0" presId="urn:microsoft.com/office/officeart/2005/8/layout/vList2"/>
    <dgm:cxn modelId="{D9D2C6B3-52A3-4268-B148-2745143F608A}" type="presParOf" srcId="{E10E95AB-568B-4CD1-AA9E-D49D7E6A7867}" destId="{24369605-DAEA-46D0-BE54-AC2DDD0F65BC}" srcOrd="0" destOrd="0" presId="urn:microsoft.com/office/officeart/2005/8/layout/vList2"/>
    <dgm:cxn modelId="{617F4246-9920-43B0-8833-AA8E28ECCEC4}" type="presParOf" srcId="{E10E95AB-568B-4CD1-AA9E-D49D7E6A7867}" destId="{9AE9C823-F7D9-4672-8701-CF57C147E06B}" srcOrd="1" destOrd="0" presId="urn:microsoft.com/office/officeart/2005/8/layout/vList2"/>
    <dgm:cxn modelId="{716B8FB1-BF23-4160-B3FE-6E42108D5D33}" type="presParOf" srcId="{E10E95AB-568B-4CD1-AA9E-D49D7E6A7867}" destId="{CD72F689-5682-4AE3-A120-71A95FDAEA99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47B75A-6924-44BB-AFDD-F5862898DC1E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6BC4512-A115-4481-A7F1-A4CEB6425303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0" i="0" baseline="0" dirty="0"/>
            <a:t>Long-standing emphasis and investment</a:t>
          </a:r>
          <a:endParaRPr lang="zh-CN" dirty="0"/>
        </a:p>
      </dgm:t>
    </dgm:pt>
    <dgm:pt modelId="{1438491A-457E-4907-B24B-4FCC56AB4D8E}" type="parTrans" cxnId="{ED2A29B0-2892-46A5-9348-725548542EE5}">
      <dgm:prSet/>
      <dgm:spPr/>
      <dgm:t>
        <a:bodyPr/>
        <a:lstStyle/>
        <a:p>
          <a:endParaRPr lang="zh-CN" altLang="en-US"/>
        </a:p>
      </dgm:t>
    </dgm:pt>
    <dgm:pt modelId="{EB9FA11E-EA52-4C06-9FF4-758D86A19C7B}" type="sibTrans" cxnId="{ED2A29B0-2892-46A5-9348-725548542EE5}">
      <dgm:prSet/>
      <dgm:spPr/>
      <dgm:t>
        <a:bodyPr/>
        <a:lstStyle/>
        <a:p>
          <a:endParaRPr lang="zh-CN" altLang="en-US"/>
        </a:p>
      </dgm:t>
    </dgm:pt>
    <dgm:pt modelId="{9818307B-D659-445A-B886-DCA25316EDDA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0" i="0" baseline="0" dirty="0"/>
            <a:t>Formulation and implementation of policies</a:t>
          </a:r>
          <a:endParaRPr lang="zh-CN" dirty="0"/>
        </a:p>
      </dgm:t>
    </dgm:pt>
    <dgm:pt modelId="{FDB543FD-3D3F-4C65-BA9C-52CA50C190AA}" type="parTrans" cxnId="{B578EDB0-E050-400A-AAAB-7B8E35C3E548}">
      <dgm:prSet/>
      <dgm:spPr/>
      <dgm:t>
        <a:bodyPr/>
        <a:lstStyle/>
        <a:p>
          <a:endParaRPr lang="zh-CN" altLang="en-US"/>
        </a:p>
      </dgm:t>
    </dgm:pt>
    <dgm:pt modelId="{E6D9CA72-BA1B-4274-A858-51D07E64028F}" type="sibTrans" cxnId="{B578EDB0-E050-400A-AAAB-7B8E35C3E548}">
      <dgm:prSet/>
      <dgm:spPr/>
      <dgm:t>
        <a:bodyPr/>
        <a:lstStyle/>
        <a:p>
          <a:endParaRPr lang="zh-CN" altLang="en-US"/>
        </a:p>
      </dgm:t>
    </dgm:pt>
    <dgm:pt modelId="{2C4FA9CB-04A1-4637-B37A-BD51FA2305F7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0" i="0" baseline="0"/>
            <a:t>Promotion of social fairness and justice</a:t>
          </a:r>
          <a:endParaRPr lang="zh-CN"/>
        </a:p>
      </dgm:t>
    </dgm:pt>
    <dgm:pt modelId="{3E805DF3-5CE7-4EE8-869D-27C822C50A0A}" type="parTrans" cxnId="{FB080430-4138-484C-9AE6-8079FBC07FF2}">
      <dgm:prSet/>
      <dgm:spPr/>
      <dgm:t>
        <a:bodyPr/>
        <a:lstStyle/>
        <a:p>
          <a:endParaRPr lang="zh-CN" altLang="en-US"/>
        </a:p>
      </dgm:t>
    </dgm:pt>
    <dgm:pt modelId="{8D7A9442-9E35-4963-8BE0-D27118C29CED}" type="sibTrans" cxnId="{FB080430-4138-484C-9AE6-8079FBC07FF2}">
      <dgm:prSet/>
      <dgm:spPr/>
      <dgm:t>
        <a:bodyPr/>
        <a:lstStyle/>
        <a:p>
          <a:endParaRPr lang="zh-CN" altLang="en-US"/>
        </a:p>
      </dgm:t>
    </dgm:pt>
    <dgm:pt modelId="{D42DAC60-354A-4578-953B-C2E1284B334D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0" i="0" baseline="0" dirty="0"/>
            <a:t>Provision of opportunities and equal development environment</a:t>
          </a:r>
          <a:endParaRPr lang="zh-CN" dirty="0"/>
        </a:p>
      </dgm:t>
    </dgm:pt>
    <dgm:pt modelId="{9CCBF7C9-ECDD-426C-AF02-C83046BF663C}" type="parTrans" cxnId="{D5C93BD3-859F-460E-A385-AEA58A94611A}">
      <dgm:prSet/>
      <dgm:spPr/>
      <dgm:t>
        <a:bodyPr/>
        <a:lstStyle/>
        <a:p>
          <a:endParaRPr lang="zh-CN" altLang="en-US"/>
        </a:p>
      </dgm:t>
    </dgm:pt>
    <dgm:pt modelId="{F6491403-4217-4636-90A2-DC30F3BC77D0}" type="sibTrans" cxnId="{D5C93BD3-859F-460E-A385-AEA58A94611A}">
      <dgm:prSet/>
      <dgm:spPr/>
      <dgm:t>
        <a:bodyPr/>
        <a:lstStyle/>
        <a:p>
          <a:endParaRPr lang="zh-CN" altLang="en-US"/>
        </a:p>
      </dgm:t>
    </dgm:pt>
    <dgm:pt modelId="{08074994-0F49-4F5C-B6AC-931FCF938856}" type="pres">
      <dgm:prSet presAssocID="{CE47B75A-6924-44BB-AFDD-F5862898DC1E}" presName="matrix" presStyleCnt="0">
        <dgm:presLayoutVars>
          <dgm:chMax val="1"/>
          <dgm:dir/>
          <dgm:resizeHandles val="exact"/>
        </dgm:presLayoutVars>
      </dgm:prSet>
      <dgm:spPr/>
    </dgm:pt>
    <dgm:pt modelId="{05DE1BFF-1ACC-476D-ABAA-F7102E6D8C03}" type="pres">
      <dgm:prSet presAssocID="{CE47B75A-6924-44BB-AFDD-F5862898DC1E}" presName="diamond" presStyleLbl="bgShp" presStyleIdx="0" presStyleCnt="1"/>
      <dgm:spPr>
        <a:solidFill>
          <a:schemeClr val="tx2">
            <a:lumMod val="40000"/>
            <a:lumOff val="60000"/>
          </a:schemeClr>
        </a:solidFill>
      </dgm:spPr>
    </dgm:pt>
    <dgm:pt modelId="{D5B17837-D149-4DC8-9D64-5DC59565988E}" type="pres">
      <dgm:prSet presAssocID="{CE47B75A-6924-44BB-AFDD-F5862898DC1E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A92C1DB-5E24-4A49-AD49-250C60AC059E}" type="pres">
      <dgm:prSet presAssocID="{CE47B75A-6924-44BB-AFDD-F5862898DC1E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B21D847B-3C22-4DE1-AAA8-FF5C2E9C74B7}" type="pres">
      <dgm:prSet presAssocID="{CE47B75A-6924-44BB-AFDD-F5862898DC1E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4A96EA9-422F-4F86-B3D7-6C7934C2E1D9}" type="pres">
      <dgm:prSet presAssocID="{CE47B75A-6924-44BB-AFDD-F5862898DC1E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7F2E2F10-5053-450E-B1E2-8DDDF8625098}" type="presOf" srcId="{2C4FA9CB-04A1-4637-B37A-BD51FA2305F7}" destId="{B21D847B-3C22-4DE1-AAA8-FF5C2E9C74B7}" srcOrd="0" destOrd="0" presId="urn:microsoft.com/office/officeart/2005/8/layout/matrix3"/>
    <dgm:cxn modelId="{FB080430-4138-484C-9AE6-8079FBC07FF2}" srcId="{CE47B75A-6924-44BB-AFDD-F5862898DC1E}" destId="{2C4FA9CB-04A1-4637-B37A-BD51FA2305F7}" srcOrd="2" destOrd="0" parTransId="{3E805DF3-5CE7-4EE8-869D-27C822C50A0A}" sibTransId="{8D7A9442-9E35-4963-8BE0-D27118C29CED}"/>
    <dgm:cxn modelId="{F182856D-93BD-46E3-AC2D-BF5F1E13F6BD}" type="presOf" srcId="{76BC4512-A115-4481-A7F1-A4CEB6425303}" destId="{D5B17837-D149-4DC8-9D64-5DC59565988E}" srcOrd="0" destOrd="0" presId="urn:microsoft.com/office/officeart/2005/8/layout/matrix3"/>
    <dgm:cxn modelId="{DDC3AB71-8BB5-4BC6-95CE-F480A6E6AAC7}" type="presOf" srcId="{CE47B75A-6924-44BB-AFDD-F5862898DC1E}" destId="{08074994-0F49-4F5C-B6AC-931FCF938856}" srcOrd="0" destOrd="0" presId="urn:microsoft.com/office/officeart/2005/8/layout/matrix3"/>
    <dgm:cxn modelId="{22B29698-B932-4247-A523-899E64579443}" type="presOf" srcId="{D42DAC60-354A-4578-953B-C2E1284B334D}" destId="{B4A96EA9-422F-4F86-B3D7-6C7934C2E1D9}" srcOrd="0" destOrd="0" presId="urn:microsoft.com/office/officeart/2005/8/layout/matrix3"/>
    <dgm:cxn modelId="{68A9C3A6-20CF-4BF3-BED4-EFDA114F2F4D}" type="presOf" srcId="{9818307B-D659-445A-B886-DCA25316EDDA}" destId="{DA92C1DB-5E24-4A49-AD49-250C60AC059E}" srcOrd="0" destOrd="0" presId="urn:microsoft.com/office/officeart/2005/8/layout/matrix3"/>
    <dgm:cxn modelId="{ED2A29B0-2892-46A5-9348-725548542EE5}" srcId="{CE47B75A-6924-44BB-AFDD-F5862898DC1E}" destId="{76BC4512-A115-4481-A7F1-A4CEB6425303}" srcOrd="0" destOrd="0" parTransId="{1438491A-457E-4907-B24B-4FCC56AB4D8E}" sibTransId="{EB9FA11E-EA52-4C06-9FF4-758D86A19C7B}"/>
    <dgm:cxn modelId="{B578EDB0-E050-400A-AAAB-7B8E35C3E548}" srcId="{CE47B75A-6924-44BB-AFDD-F5862898DC1E}" destId="{9818307B-D659-445A-B886-DCA25316EDDA}" srcOrd="1" destOrd="0" parTransId="{FDB543FD-3D3F-4C65-BA9C-52CA50C190AA}" sibTransId="{E6D9CA72-BA1B-4274-A858-51D07E64028F}"/>
    <dgm:cxn modelId="{D5C93BD3-859F-460E-A385-AEA58A94611A}" srcId="{CE47B75A-6924-44BB-AFDD-F5862898DC1E}" destId="{D42DAC60-354A-4578-953B-C2E1284B334D}" srcOrd="3" destOrd="0" parTransId="{9CCBF7C9-ECDD-426C-AF02-C83046BF663C}" sibTransId="{F6491403-4217-4636-90A2-DC30F3BC77D0}"/>
    <dgm:cxn modelId="{40C5FD43-F0D0-4157-A405-712740AC9574}" type="presParOf" srcId="{08074994-0F49-4F5C-B6AC-931FCF938856}" destId="{05DE1BFF-1ACC-476D-ABAA-F7102E6D8C03}" srcOrd="0" destOrd="0" presId="urn:microsoft.com/office/officeart/2005/8/layout/matrix3"/>
    <dgm:cxn modelId="{ABE012EC-F8E5-4B8A-AE57-917F2AABDD37}" type="presParOf" srcId="{08074994-0F49-4F5C-B6AC-931FCF938856}" destId="{D5B17837-D149-4DC8-9D64-5DC59565988E}" srcOrd="1" destOrd="0" presId="urn:microsoft.com/office/officeart/2005/8/layout/matrix3"/>
    <dgm:cxn modelId="{0E4994B8-ED2C-4884-A18B-214A9E61D0A9}" type="presParOf" srcId="{08074994-0F49-4F5C-B6AC-931FCF938856}" destId="{DA92C1DB-5E24-4A49-AD49-250C60AC059E}" srcOrd="2" destOrd="0" presId="urn:microsoft.com/office/officeart/2005/8/layout/matrix3"/>
    <dgm:cxn modelId="{555859FB-6849-4B3A-AE5D-6189130F5A36}" type="presParOf" srcId="{08074994-0F49-4F5C-B6AC-931FCF938856}" destId="{B21D847B-3C22-4DE1-AAA8-FF5C2E9C74B7}" srcOrd="3" destOrd="0" presId="urn:microsoft.com/office/officeart/2005/8/layout/matrix3"/>
    <dgm:cxn modelId="{07E7F4C9-5D34-42A8-8486-E8AF60A9CCDE}" type="presParOf" srcId="{08074994-0F49-4F5C-B6AC-931FCF938856}" destId="{B4A96EA9-422F-4F86-B3D7-6C7934C2E1D9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B7B2AFF-638B-461B-9A5E-B9DDF932975B}" type="doc">
      <dgm:prSet loTypeId="urn:microsoft.com/office/officeart/2005/8/layout/venn1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2AB42068-7B9C-4ADE-B5CF-9AC86EC9A0E6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b="0" i="0" baseline="0"/>
            <a:t>Promotion of diversification and openness</a:t>
          </a:r>
          <a:endParaRPr lang="zh-CN"/>
        </a:p>
      </dgm:t>
    </dgm:pt>
    <dgm:pt modelId="{6A6D226A-61C7-460F-8748-D81632925F59}" type="parTrans" cxnId="{07DBD553-97BB-4EBB-B6A9-39608802B06C}">
      <dgm:prSet/>
      <dgm:spPr/>
      <dgm:t>
        <a:bodyPr/>
        <a:lstStyle/>
        <a:p>
          <a:endParaRPr lang="zh-CN" altLang="en-US"/>
        </a:p>
      </dgm:t>
    </dgm:pt>
    <dgm:pt modelId="{2CEDEF88-E9B7-468E-AE0A-53563AE2F64F}" type="sibTrans" cxnId="{07DBD553-97BB-4EBB-B6A9-39608802B06C}">
      <dgm:prSet/>
      <dgm:spPr/>
      <dgm:t>
        <a:bodyPr/>
        <a:lstStyle/>
        <a:p>
          <a:endParaRPr lang="zh-CN" altLang="en-US"/>
        </a:p>
      </dgm:t>
    </dgm:pt>
    <dgm:pt modelId="{2EC1BB21-AA1A-471F-8184-CB00C46C936F}">
      <dgm:prSet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n-US" b="0" i="0" baseline="0"/>
            <a:t>Absorption and learning from foreign cultures and experiences</a:t>
          </a:r>
          <a:endParaRPr lang="zh-CN"/>
        </a:p>
      </dgm:t>
    </dgm:pt>
    <dgm:pt modelId="{7031E03D-5F39-4582-88B4-876407C6E33A}" type="parTrans" cxnId="{DA98534B-9B44-42CE-A63A-C3C09EB21703}">
      <dgm:prSet/>
      <dgm:spPr/>
      <dgm:t>
        <a:bodyPr/>
        <a:lstStyle/>
        <a:p>
          <a:endParaRPr lang="zh-CN" altLang="en-US"/>
        </a:p>
      </dgm:t>
    </dgm:pt>
    <dgm:pt modelId="{996AF3EB-846A-4FC1-BE65-F521F17631FB}" type="sibTrans" cxnId="{DA98534B-9B44-42CE-A63A-C3C09EB21703}">
      <dgm:prSet/>
      <dgm:spPr/>
      <dgm:t>
        <a:bodyPr/>
        <a:lstStyle/>
        <a:p>
          <a:endParaRPr lang="zh-CN" altLang="en-US"/>
        </a:p>
      </dgm:t>
    </dgm:pt>
    <dgm:pt modelId="{4FA5083D-5522-4F05-BF15-530E8AA20790}">
      <dgm:prSet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US" b="0" i="0" baseline="0"/>
            <a:t>Injection of vitality and impetus into social harmony</a:t>
          </a:r>
          <a:endParaRPr lang="zh-CN"/>
        </a:p>
      </dgm:t>
    </dgm:pt>
    <dgm:pt modelId="{D88F3AB7-3A2F-401B-9B0E-D686F511EDCF}" type="parTrans" cxnId="{F4B8CDD6-87DF-4F32-B20B-F35E564342D5}">
      <dgm:prSet/>
      <dgm:spPr/>
      <dgm:t>
        <a:bodyPr/>
        <a:lstStyle/>
        <a:p>
          <a:endParaRPr lang="zh-CN" altLang="en-US"/>
        </a:p>
      </dgm:t>
    </dgm:pt>
    <dgm:pt modelId="{DA41AF43-EC8C-4D48-BE92-8CD4C1F957D0}" type="sibTrans" cxnId="{F4B8CDD6-87DF-4F32-B20B-F35E564342D5}">
      <dgm:prSet/>
      <dgm:spPr/>
      <dgm:t>
        <a:bodyPr/>
        <a:lstStyle/>
        <a:p>
          <a:endParaRPr lang="zh-CN" altLang="en-US"/>
        </a:p>
      </dgm:t>
    </dgm:pt>
    <dgm:pt modelId="{D99A7972-9D84-438D-8DB9-4A70A71F6A90}" type="pres">
      <dgm:prSet presAssocID="{8B7B2AFF-638B-461B-9A5E-B9DDF932975B}" presName="compositeShape" presStyleCnt="0">
        <dgm:presLayoutVars>
          <dgm:chMax val="7"/>
          <dgm:dir/>
          <dgm:resizeHandles val="exact"/>
        </dgm:presLayoutVars>
      </dgm:prSet>
      <dgm:spPr/>
    </dgm:pt>
    <dgm:pt modelId="{3EFDF60D-6143-4850-BCDD-A110F4CEE601}" type="pres">
      <dgm:prSet presAssocID="{2AB42068-7B9C-4ADE-B5CF-9AC86EC9A0E6}" presName="circ1" presStyleLbl="vennNode1" presStyleIdx="0" presStyleCnt="3"/>
      <dgm:spPr/>
    </dgm:pt>
    <dgm:pt modelId="{2DD13DEF-5AE2-4B21-A787-0C02D008531A}" type="pres">
      <dgm:prSet presAssocID="{2AB42068-7B9C-4ADE-B5CF-9AC86EC9A0E6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95A845AF-BDF2-4414-9A47-3AAF2EB83CD7}" type="pres">
      <dgm:prSet presAssocID="{2EC1BB21-AA1A-471F-8184-CB00C46C936F}" presName="circ2" presStyleLbl="vennNode1" presStyleIdx="1" presStyleCnt="3"/>
      <dgm:spPr/>
    </dgm:pt>
    <dgm:pt modelId="{36884158-7445-4688-89FB-6CD978F6E805}" type="pres">
      <dgm:prSet presAssocID="{2EC1BB21-AA1A-471F-8184-CB00C46C936F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685C3D5D-29DA-42A0-AD08-74B0E3CAD7E0}" type="pres">
      <dgm:prSet presAssocID="{4FA5083D-5522-4F05-BF15-530E8AA20790}" presName="circ3" presStyleLbl="vennNode1" presStyleIdx="2" presStyleCnt="3"/>
      <dgm:spPr/>
    </dgm:pt>
    <dgm:pt modelId="{96BC96AD-8424-4F14-8ED0-39697CB02BEB}" type="pres">
      <dgm:prSet presAssocID="{4FA5083D-5522-4F05-BF15-530E8AA20790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095C7004-73A7-4DCF-8596-D65EA1F45848}" type="presOf" srcId="{4FA5083D-5522-4F05-BF15-530E8AA20790}" destId="{96BC96AD-8424-4F14-8ED0-39697CB02BEB}" srcOrd="1" destOrd="0" presId="urn:microsoft.com/office/officeart/2005/8/layout/venn1"/>
    <dgm:cxn modelId="{F1767C11-68E2-418C-957D-2C99B53E8D11}" type="presOf" srcId="{2AB42068-7B9C-4ADE-B5CF-9AC86EC9A0E6}" destId="{3EFDF60D-6143-4850-BCDD-A110F4CEE601}" srcOrd="0" destOrd="0" presId="urn:microsoft.com/office/officeart/2005/8/layout/venn1"/>
    <dgm:cxn modelId="{C923115F-E888-468A-83ED-DB2E6F52C395}" type="presOf" srcId="{4FA5083D-5522-4F05-BF15-530E8AA20790}" destId="{685C3D5D-29DA-42A0-AD08-74B0E3CAD7E0}" srcOrd="0" destOrd="0" presId="urn:microsoft.com/office/officeart/2005/8/layout/venn1"/>
    <dgm:cxn modelId="{DA98534B-9B44-42CE-A63A-C3C09EB21703}" srcId="{8B7B2AFF-638B-461B-9A5E-B9DDF932975B}" destId="{2EC1BB21-AA1A-471F-8184-CB00C46C936F}" srcOrd="1" destOrd="0" parTransId="{7031E03D-5F39-4582-88B4-876407C6E33A}" sibTransId="{996AF3EB-846A-4FC1-BE65-F521F17631FB}"/>
    <dgm:cxn modelId="{AAB78951-4DFC-40EA-9F22-AACFDCC81752}" type="presOf" srcId="{2EC1BB21-AA1A-471F-8184-CB00C46C936F}" destId="{36884158-7445-4688-89FB-6CD978F6E805}" srcOrd="1" destOrd="0" presId="urn:microsoft.com/office/officeart/2005/8/layout/venn1"/>
    <dgm:cxn modelId="{07DBD553-97BB-4EBB-B6A9-39608802B06C}" srcId="{8B7B2AFF-638B-461B-9A5E-B9DDF932975B}" destId="{2AB42068-7B9C-4ADE-B5CF-9AC86EC9A0E6}" srcOrd="0" destOrd="0" parTransId="{6A6D226A-61C7-460F-8748-D81632925F59}" sibTransId="{2CEDEF88-E9B7-468E-AE0A-53563AE2F64F}"/>
    <dgm:cxn modelId="{1A680F5A-BCAC-4B84-967D-6E3C00AEA1A6}" type="presOf" srcId="{2AB42068-7B9C-4ADE-B5CF-9AC86EC9A0E6}" destId="{2DD13DEF-5AE2-4B21-A787-0C02D008531A}" srcOrd="1" destOrd="0" presId="urn:microsoft.com/office/officeart/2005/8/layout/venn1"/>
    <dgm:cxn modelId="{55F441A9-EE6F-47FD-B86E-03D3EA71507D}" type="presOf" srcId="{8B7B2AFF-638B-461B-9A5E-B9DDF932975B}" destId="{D99A7972-9D84-438D-8DB9-4A70A71F6A90}" srcOrd="0" destOrd="0" presId="urn:microsoft.com/office/officeart/2005/8/layout/venn1"/>
    <dgm:cxn modelId="{EC553EB3-74A6-44FF-B639-3FBA554BD109}" type="presOf" srcId="{2EC1BB21-AA1A-471F-8184-CB00C46C936F}" destId="{95A845AF-BDF2-4414-9A47-3AAF2EB83CD7}" srcOrd="0" destOrd="0" presId="urn:microsoft.com/office/officeart/2005/8/layout/venn1"/>
    <dgm:cxn modelId="{F4B8CDD6-87DF-4F32-B20B-F35E564342D5}" srcId="{8B7B2AFF-638B-461B-9A5E-B9DDF932975B}" destId="{4FA5083D-5522-4F05-BF15-530E8AA20790}" srcOrd="2" destOrd="0" parTransId="{D88F3AB7-3A2F-401B-9B0E-D686F511EDCF}" sibTransId="{DA41AF43-EC8C-4D48-BE92-8CD4C1F957D0}"/>
    <dgm:cxn modelId="{28A6DAD0-A765-4207-B39F-4D43C32562DD}" type="presParOf" srcId="{D99A7972-9D84-438D-8DB9-4A70A71F6A90}" destId="{3EFDF60D-6143-4850-BCDD-A110F4CEE601}" srcOrd="0" destOrd="0" presId="urn:microsoft.com/office/officeart/2005/8/layout/venn1"/>
    <dgm:cxn modelId="{5973A28E-DAD6-4A7D-958D-244C84AF6D21}" type="presParOf" srcId="{D99A7972-9D84-438D-8DB9-4A70A71F6A90}" destId="{2DD13DEF-5AE2-4B21-A787-0C02D008531A}" srcOrd="1" destOrd="0" presId="urn:microsoft.com/office/officeart/2005/8/layout/venn1"/>
    <dgm:cxn modelId="{2381768C-16F8-43A8-B7DB-1F756A7DDCB3}" type="presParOf" srcId="{D99A7972-9D84-438D-8DB9-4A70A71F6A90}" destId="{95A845AF-BDF2-4414-9A47-3AAF2EB83CD7}" srcOrd="2" destOrd="0" presId="urn:microsoft.com/office/officeart/2005/8/layout/venn1"/>
    <dgm:cxn modelId="{03144E7A-3114-42C5-8934-08725C2EA650}" type="presParOf" srcId="{D99A7972-9D84-438D-8DB9-4A70A71F6A90}" destId="{36884158-7445-4688-89FB-6CD978F6E805}" srcOrd="3" destOrd="0" presId="urn:microsoft.com/office/officeart/2005/8/layout/venn1"/>
    <dgm:cxn modelId="{734AC59C-FD47-4780-893B-6E0A50D8480E}" type="presParOf" srcId="{D99A7972-9D84-438D-8DB9-4A70A71F6A90}" destId="{685C3D5D-29DA-42A0-AD08-74B0E3CAD7E0}" srcOrd="4" destOrd="0" presId="urn:microsoft.com/office/officeart/2005/8/layout/venn1"/>
    <dgm:cxn modelId="{85513E7B-D0E2-473F-BC1F-AD70700C2FA4}" type="presParOf" srcId="{D99A7972-9D84-438D-8DB9-4A70A71F6A90}" destId="{96BC96AD-8424-4F14-8ED0-39697CB02BEB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369605-DAEA-46D0-BE54-AC2DDD0F65BC}">
      <dsp:nvSpPr>
        <dsp:cNvPr id="0" name=""/>
        <dsp:cNvSpPr/>
      </dsp:nvSpPr>
      <dsp:spPr>
        <a:xfrm>
          <a:off x="0" y="0"/>
          <a:ext cx="5162510" cy="959217"/>
        </a:xfrm>
        <a:prstGeom prst="roundRect">
          <a:avLst/>
        </a:prstGeom>
        <a:solidFill>
          <a:schemeClr val="bg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baseline="0" dirty="0"/>
            <a:t>Emphasis on harmony and unity</a:t>
          </a:r>
          <a:endParaRPr lang="zh-CN" sz="2200" kern="1200" dirty="0"/>
        </a:p>
      </dsp:txBody>
      <dsp:txXfrm>
        <a:off x="46825" y="46825"/>
        <a:ext cx="5068860" cy="865567"/>
      </dsp:txXfrm>
    </dsp:sp>
    <dsp:sp modelId="{CD72F689-5682-4AE3-A120-71A95FDAEA99}">
      <dsp:nvSpPr>
        <dsp:cNvPr id="0" name=""/>
        <dsp:cNvSpPr/>
      </dsp:nvSpPr>
      <dsp:spPr>
        <a:xfrm>
          <a:off x="0" y="1108003"/>
          <a:ext cx="5162510" cy="959217"/>
        </a:xfrm>
        <a:prstGeom prst="roundRect">
          <a:avLst/>
        </a:prstGeom>
        <a:solidFill>
          <a:schemeClr val="bg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baseline="0" dirty="0"/>
            <a:t>Core values in Confucianism (e.g., benevolence, harmony)</a:t>
          </a:r>
          <a:endParaRPr lang="zh-CN" sz="2200" kern="1200" dirty="0"/>
        </a:p>
      </dsp:txBody>
      <dsp:txXfrm>
        <a:off x="46825" y="1154828"/>
        <a:ext cx="5068860" cy="86556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DE1BFF-1ACC-476D-ABAA-F7102E6D8C03}">
      <dsp:nvSpPr>
        <dsp:cNvPr id="0" name=""/>
        <dsp:cNvSpPr/>
      </dsp:nvSpPr>
      <dsp:spPr>
        <a:xfrm>
          <a:off x="1206660" y="0"/>
          <a:ext cx="4930815" cy="4930815"/>
        </a:xfrm>
        <a:prstGeom prst="diamond">
          <a:avLst/>
        </a:prstGeom>
        <a:solidFill>
          <a:schemeClr val="tx2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B17837-D149-4DC8-9D64-5DC59565988E}">
      <dsp:nvSpPr>
        <dsp:cNvPr id="0" name=""/>
        <dsp:cNvSpPr/>
      </dsp:nvSpPr>
      <dsp:spPr>
        <a:xfrm>
          <a:off x="1675088" y="468427"/>
          <a:ext cx="1923017" cy="1923017"/>
        </a:xfrm>
        <a:prstGeom prst="round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baseline="0" dirty="0"/>
            <a:t>Long-standing emphasis and investment</a:t>
          </a:r>
          <a:endParaRPr lang="zh-CN" sz="1800" kern="1200" dirty="0"/>
        </a:p>
      </dsp:txBody>
      <dsp:txXfrm>
        <a:off x="1768962" y="562301"/>
        <a:ext cx="1735269" cy="1735269"/>
      </dsp:txXfrm>
    </dsp:sp>
    <dsp:sp modelId="{DA92C1DB-5E24-4A49-AD49-250C60AC059E}">
      <dsp:nvSpPr>
        <dsp:cNvPr id="0" name=""/>
        <dsp:cNvSpPr/>
      </dsp:nvSpPr>
      <dsp:spPr>
        <a:xfrm>
          <a:off x="3746030" y="468427"/>
          <a:ext cx="1923017" cy="1923017"/>
        </a:xfrm>
        <a:prstGeom prst="round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baseline="0" dirty="0"/>
            <a:t>Formulation and implementation of policies</a:t>
          </a:r>
          <a:endParaRPr lang="zh-CN" sz="1800" kern="1200" dirty="0"/>
        </a:p>
      </dsp:txBody>
      <dsp:txXfrm>
        <a:off x="3839904" y="562301"/>
        <a:ext cx="1735269" cy="1735269"/>
      </dsp:txXfrm>
    </dsp:sp>
    <dsp:sp modelId="{B21D847B-3C22-4DE1-AAA8-FF5C2E9C74B7}">
      <dsp:nvSpPr>
        <dsp:cNvPr id="0" name=""/>
        <dsp:cNvSpPr/>
      </dsp:nvSpPr>
      <dsp:spPr>
        <a:xfrm>
          <a:off x="1675088" y="2539369"/>
          <a:ext cx="1923017" cy="1923017"/>
        </a:xfrm>
        <a:prstGeom prst="round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baseline="0"/>
            <a:t>Promotion of social fairness and justice</a:t>
          </a:r>
          <a:endParaRPr lang="zh-CN" sz="1800" kern="1200"/>
        </a:p>
      </dsp:txBody>
      <dsp:txXfrm>
        <a:off x="1768962" y="2633243"/>
        <a:ext cx="1735269" cy="1735269"/>
      </dsp:txXfrm>
    </dsp:sp>
    <dsp:sp modelId="{B4A96EA9-422F-4F86-B3D7-6C7934C2E1D9}">
      <dsp:nvSpPr>
        <dsp:cNvPr id="0" name=""/>
        <dsp:cNvSpPr/>
      </dsp:nvSpPr>
      <dsp:spPr>
        <a:xfrm>
          <a:off x="3746030" y="2539369"/>
          <a:ext cx="1923017" cy="1923017"/>
        </a:xfrm>
        <a:prstGeom prst="round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baseline="0" dirty="0"/>
            <a:t>Provision of opportunities and equal development environment</a:t>
          </a:r>
          <a:endParaRPr lang="zh-CN" sz="1800" kern="1200" dirty="0"/>
        </a:p>
      </dsp:txBody>
      <dsp:txXfrm>
        <a:off x="3839904" y="2633243"/>
        <a:ext cx="1735269" cy="17352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FDF60D-6143-4850-BCDD-A110F4CEE601}">
      <dsp:nvSpPr>
        <dsp:cNvPr id="0" name=""/>
        <dsp:cNvSpPr/>
      </dsp:nvSpPr>
      <dsp:spPr>
        <a:xfrm>
          <a:off x="2272147" y="63916"/>
          <a:ext cx="3068000" cy="3068000"/>
        </a:xfrm>
        <a:prstGeom prst="ellipse">
          <a:avLst/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 baseline="0"/>
            <a:t>Promotion of diversification and openness</a:t>
          </a:r>
          <a:endParaRPr lang="zh-CN" sz="2100" kern="1200"/>
        </a:p>
      </dsp:txBody>
      <dsp:txXfrm>
        <a:off x="2681214" y="600816"/>
        <a:ext cx="2249866" cy="1380600"/>
      </dsp:txXfrm>
    </dsp:sp>
    <dsp:sp modelId="{95A845AF-BDF2-4414-9A47-3AAF2EB83CD7}">
      <dsp:nvSpPr>
        <dsp:cNvPr id="0" name=""/>
        <dsp:cNvSpPr/>
      </dsp:nvSpPr>
      <dsp:spPr>
        <a:xfrm>
          <a:off x="3379184" y="1981416"/>
          <a:ext cx="3068000" cy="3068000"/>
        </a:xfrm>
        <a:prstGeom prst="ellipse">
          <a:avLst/>
        </a:prstGeom>
        <a:solidFill>
          <a:schemeClr val="tx2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 baseline="0"/>
            <a:t>Absorption and learning from foreign cultures and experiences</a:t>
          </a:r>
          <a:endParaRPr lang="zh-CN" sz="2100" kern="1200"/>
        </a:p>
      </dsp:txBody>
      <dsp:txXfrm>
        <a:off x="4317480" y="2773983"/>
        <a:ext cx="1840800" cy="1687400"/>
      </dsp:txXfrm>
    </dsp:sp>
    <dsp:sp modelId="{685C3D5D-29DA-42A0-AD08-74B0E3CAD7E0}">
      <dsp:nvSpPr>
        <dsp:cNvPr id="0" name=""/>
        <dsp:cNvSpPr/>
      </dsp:nvSpPr>
      <dsp:spPr>
        <a:xfrm>
          <a:off x="1165110" y="1981416"/>
          <a:ext cx="3068000" cy="3068000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 baseline="0"/>
            <a:t>Injection of vitality and impetus into social harmony</a:t>
          </a:r>
          <a:endParaRPr lang="zh-CN" sz="2100" kern="1200"/>
        </a:p>
      </dsp:txBody>
      <dsp:txXfrm>
        <a:off x="1454013" y="2773983"/>
        <a:ext cx="1840800" cy="1687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7489EF-ABF6-4458-B963-496CCA871A0C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EF841D-AFDA-412D-B4CF-A266D33083C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矩形 5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alphaModFix amt="20000"/>
              </a:blip>
              <a:stretch>
                <a:fillRect l="-30056" r="-29944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sp>
          <p:nvSpPr>
            <p:cNvPr id="9" name="任意多边形: 形状 8"/>
            <p:cNvSpPr/>
            <p:nvPr/>
          </p:nvSpPr>
          <p:spPr>
            <a:xfrm>
              <a:off x="10642646" y="4803228"/>
              <a:ext cx="1549354" cy="1762672"/>
            </a:xfrm>
            <a:custGeom>
              <a:avLst/>
              <a:gdLst>
                <a:gd name="connsiteX0" fmla="*/ 881336 w 1549354"/>
                <a:gd name="connsiteY0" fmla="*/ 0 h 1762672"/>
                <a:gd name="connsiteX1" fmla="*/ 1504535 w 1549354"/>
                <a:gd name="connsiteY1" fmla="*/ 258138 h 1762672"/>
                <a:gd name="connsiteX2" fmla="*/ 1549354 w 1549354"/>
                <a:gd name="connsiteY2" fmla="*/ 312459 h 1762672"/>
                <a:gd name="connsiteX3" fmla="*/ 1549354 w 1549354"/>
                <a:gd name="connsiteY3" fmla="*/ 1450213 h 1762672"/>
                <a:gd name="connsiteX4" fmla="*/ 1504535 w 1549354"/>
                <a:gd name="connsiteY4" fmla="*/ 1504535 h 1762672"/>
                <a:gd name="connsiteX5" fmla="*/ 881336 w 1549354"/>
                <a:gd name="connsiteY5" fmla="*/ 1762672 h 1762672"/>
                <a:gd name="connsiteX6" fmla="*/ 0 w 1549354"/>
                <a:gd name="connsiteY6" fmla="*/ 881336 h 1762672"/>
                <a:gd name="connsiteX7" fmla="*/ 881336 w 1549354"/>
                <a:gd name="connsiteY7" fmla="*/ 0 h 176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9354" h="1762672">
                  <a:moveTo>
                    <a:pt x="881336" y="0"/>
                  </a:moveTo>
                  <a:cubicBezTo>
                    <a:pt x="1124710" y="0"/>
                    <a:pt x="1345044" y="98647"/>
                    <a:pt x="1504535" y="258138"/>
                  </a:cubicBezTo>
                  <a:lnTo>
                    <a:pt x="1549354" y="312459"/>
                  </a:lnTo>
                  <a:lnTo>
                    <a:pt x="1549354" y="1450213"/>
                  </a:lnTo>
                  <a:lnTo>
                    <a:pt x="1504535" y="1504535"/>
                  </a:lnTo>
                  <a:cubicBezTo>
                    <a:pt x="1345044" y="1664025"/>
                    <a:pt x="1124710" y="1762672"/>
                    <a:pt x="881336" y="1762672"/>
                  </a:cubicBezTo>
                  <a:cubicBezTo>
                    <a:pt x="394588" y="1762672"/>
                    <a:pt x="0" y="1368084"/>
                    <a:pt x="0" y="881336"/>
                  </a:cubicBezTo>
                  <a:cubicBezTo>
                    <a:pt x="0" y="394588"/>
                    <a:pt x="394588" y="0"/>
                    <a:pt x="881336" y="0"/>
                  </a:cubicBezTo>
                  <a:close/>
                </a:path>
              </a:pathLst>
            </a:custGeom>
            <a:pattFill prst="pct5">
              <a:fgClr>
                <a:schemeClr val="bg1"/>
              </a:fgClr>
              <a:bgClr>
                <a:schemeClr val="accent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5377938" y="1"/>
              <a:ext cx="6814062" cy="6329675"/>
            </a:xfrm>
            <a:custGeom>
              <a:avLst/>
              <a:gdLst>
                <a:gd name="connsiteX0" fmla="*/ 525958 w 6814062"/>
                <a:gd name="connsiteY0" fmla="*/ 0 h 6329675"/>
                <a:gd name="connsiteX1" fmla="*/ 6814062 w 6814062"/>
                <a:gd name="connsiteY1" fmla="*/ 0 h 6329675"/>
                <a:gd name="connsiteX2" fmla="*/ 6814062 w 6814062"/>
                <a:gd name="connsiteY2" fmla="*/ 5489614 h 6329675"/>
                <a:gd name="connsiteX3" fmla="*/ 6707140 w 6814062"/>
                <a:gd name="connsiteY3" fmla="*/ 5570573 h 6329675"/>
                <a:gd name="connsiteX4" fmla="*/ 4274673 w 6814062"/>
                <a:gd name="connsiteY4" fmla="*/ 6329675 h 6329675"/>
                <a:gd name="connsiteX5" fmla="*/ 0 w 6814062"/>
                <a:gd name="connsiteY5" fmla="*/ 2055002 h 6329675"/>
                <a:gd name="connsiteX6" fmla="*/ 515931 w 6814062"/>
                <a:gd name="connsiteY6" fmla="*/ 17440 h 632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14062" h="6329675">
                  <a:moveTo>
                    <a:pt x="525958" y="0"/>
                  </a:moveTo>
                  <a:lnTo>
                    <a:pt x="6814062" y="0"/>
                  </a:lnTo>
                  <a:lnTo>
                    <a:pt x="6814062" y="5489614"/>
                  </a:lnTo>
                  <a:lnTo>
                    <a:pt x="6707140" y="5570573"/>
                  </a:lnTo>
                  <a:cubicBezTo>
                    <a:pt x="6016682" y="6049212"/>
                    <a:pt x="5178430" y="6329675"/>
                    <a:pt x="4274673" y="6329675"/>
                  </a:cubicBezTo>
                  <a:cubicBezTo>
                    <a:pt x="1913837" y="6329675"/>
                    <a:pt x="0" y="4415839"/>
                    <a:pt x="0" y="2055002"/>
                  </a:cubicBezTo>
                  <a:cubicBezTo>
                    <a:pt x="0" y="1317241"/>
                    <a:pt x="186898" y="623132"/>
                    <a:pt x="515931" y="17440"/>
                  </a:cubicBezTo>
                  <a:close/>
                </a:path>
              </a:pathLst>
            </a:custGeom>
            <a:blipFill>
              <a:blip r:embed="rId2"/>
              <a:stretch>
                <a:fillRect l="-30056" r="-29944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sp>
          <p:nvSpPr>
            <p:cNvPr id="11" name="任意多边形: 形状 10"/>
            <p:cNvSpPr/>
            <p:nvPr/>
          </p:nvSpPr>
          <p:spPr>
            <a:xfrm rot="19319390" flipH="1">
              <a:off x="5069147" y="726708"/>
              <a:ext cx="1117220" cy="1159596"/>
            </a:xfrm>
            <a:custGeom>
              <a:avLst/>
              <a:gdLst>
                <a:gd name="connsiteX0" fmla="*/ 1481582 w 1519568"/>
                <a:gd name="connsiteY0" fmla="*/ 484611 h 1577204"/>
                <a:gd name="connsiteX1" fmla="*/ 1481582 w 1519568"/>
                <a:gd name="connsiteY1" fmla="*/ 1088233 h 1577204"/>
                <a:gd name="connsiteX2" fmla="*/ 1504888 w 1519568"/>
                <a:gd name="connsiteY2" fmla="*/ 1034626 h 1577204"/>
                <a:gd name="connsiteX3" fmla="*/ 1519568 w 1519568"/>
                <a:gd name="connsiteY3" fmla="*/ 968217 h 1577204"/>
                <a:gd name="connsiteX4" fmla="*/ 1519568 w 1519568"/>
                <a:gd name="connsiteY4" fmla="*/ 602441 h 1577204"/>
                <a:gd name="connsiteX5" fmla="*/ 1516391 w 1519568"/>
                <a:gd name="connsiteY5" fmla="*/ 583490 h 1577204"/>
                <a:gd name="connsiteX6" fmla="*/ 1492572 w 1519568"/>
                <a:gd name="connsiteY6" fmla="*/ 509776 h 1577204"/>
                <a:gd name="connsiteX7" fmla="*/ 1316962 w 1519568"/>
                <a:gd name="connsiteY7" fmla="*/ 235802 h 1577204"/>
                <a:gd name="connsiteX8" fmla="*/ 1316962 w 1519568"/>
                <a:gd name="connsiteY8" fmla="*/ 1343384 h 1577204"/>
                <a:gd name="connsiteX9" fmla="*/ 1354949 w 1519568"/>
                <a:gd name="connsiteY9" fmla="*/ 1303090 h 1577204"/>
                <a:gd name="connsiteX10" fmla="*/ 1354949 w 1519568"/>
                <a:gd name="connsiteY10" fmla="*/ 278471 h 1577204"/>
                <a:gd name="connsiteX11" fmla="*/ 1322551 w 1519568"/>
                <a:gd name="connsiteY11" fmla="*/ 241071 h 1577204"/>
                <a:gd name="connsiteX12" fmla="*/ 1152342 w 1519568"/>
                <a:gd name="connsiteY12" fmla="*/ 107488 h 1577204"/>
                <a:gd name="connsiteX13" fmla="*/ 1152342 w 1519568"/>
                <a:gd name="connsiteY13" fmla="*/ 1472057 h 1577204"/>
                <a:gd name="connsiteX14" fmla="*/ 1173053 w 1519568"/>
                <a:gd name="connsiteY14" fmla="*/ 1460419 h 1577204"/>
                <a:gd name="connsiteX15" fmla="*/ 1190328 w 1519568"/>
                <a:gd name="connsiteY15" fmla="*/ 1448269 h 1577204"/>
                <a:gd name="connsiteX16" fmla="*/ 1190328 w 1519568"/>
                <a:gd name="connsiteY16" fmla="*/ 131120 h 1577204"/>
                <a:gd name="connsiteX17" fmla="*/ 987721 w 1519568"/>
                <a:gd name="connsiteY17" fmla="*/ 34875 h 1577204"/>
                <a:gd name="connsiteX18" fmla="*/ 987721 w 1519568"/>
                <a:gd name="connsiteY18" fmla="*/ 1543361 h 1577204"/>
                <a:gd name="connsiteX19" fmla="*/ 1025707 w 1519568"/>
                <a:gd name="connsiteY19" fmla="*/ 1528959 h 1577204"/>
                <a:gd name="connsiteX20" fmla="*/ 1025707 w 1519568"/>
                <a:gd name="connsiteY20" fmla="*/ 49521 h 1577204"/>
                <a:gd name="connsiteX21" fmla="*/ 996464 w 1519568"/>
                <a:gd name="connsiteY21" fmla="*/ 36807 h 1577204"/>
                <a:gd name="connsiteX22" fmla="*/ 823101 w 1519568"/>
                <a:gd name="connsiteY22" fmla="*/ 3355 h 1577204"/>
                <a:gd name="connsiteX23" fmla="*/ 823101 w 1519568"/>
                <a:gd name="connsiteY23" fmla="*/ 1577204 h 1577204"/>
                <a:gd name="connsiteX24" fmla="*/ 861088 w 1519568"/>
                <a:gd name="connsiteY24" fmla="*/ 1570836 h 1577204"/>
                <a:gd name="connsiteX25" fmla="*/ 861088 w 1519568"/>
                <a:gd name="connsiteY25" fmla="*/ 6883 h 1577204"/>
                <a:gd name="connsiteX26" fmla="*/ 848123 w 1519568"/>
                <a:gd name="connsiteY26" fmla="*/ 4017 h 1577204"/>
                <a:gd name="connsiteX27" fmla="*/ 658480 w 1519568"/>
                <a:gd name="connsiteY27" fmla="*/ 6334 h 1577204"/>
                <a:gd name="connsiteX28" fmla="*/ 658480 w 1519568"/>
                <a:gd name="connsiteY28" fmla="*/ 1575922 h 1577204"/>
                <a:gd name="connsiteX29" fmla="*/ 696467 w 1519568"/>
                <a:gd name="connsiteY29" fmla="*/ 1576927 h 1577204"/>
                <a:gd name="connsiteX30" fmla="*/ 696467 w 1519568"/>
                <a:gd name="connsiteY30" fmla="*/ 6 h 1577204"/>
                <a:gd name="connsiteX31" fmla="*/ 696255 w 1519568"/>
                <a:gd name="connsiteY31" fmla="*/ 0 h 1577204"/>
                <a:gd name="connsiteX32" fmla="*/ 37986 w 1519568"/>
                <a:gd name="connsiteY32" fmla="*/ 454743 h 1577204"/>
                <a:gd name="connsiteX33" fmla="*/ 0 w 1519568"/>
                <a:gd name="connsiteY33" fmla="*/ 542116 h 1577204"/>
                <a:gd name="connsiteX34" fmla="*/ 0 w 1519568"/>
                <a:gd name="connsiteY34" fmla="*/ 1036156 h 1577204"/>
                <a:gd name="connsiteX35" fmla="*/ 10962 w 1519568"/>
                <a:gd name="connsiteY35" fmla="*/ 1070081 h 1577204"/>
                <a:gd name="connsiteX36" fmla="*/ 37986 w 1519568"/>
                <a:gd name="connsiteY36" fmla="*/ 1131965 h 1577204"/>
                <a:gd name="connsiteX37" fmla="*/ 493860 w 1519568"/>
                <a:gd name="connsiteY37" fmla="*/ 44820 h 1577204"/>
                <a:gd name="connsiteX38" fmla="*/ 493860 w 1519568"/>
                <a:gd name="connsiteY38" fmla="*/ 1537307 h 1577204"/>
                <a:gd name="connsiteX39" fmla="*/ 507070 w 1519568"/>
                <a:gd name="connsiteY39" fmla="*/ 1543050 h 1577204"/>
                <a:gd name="connsiteX40" fmla="*/ 531846 w 1519568"/>
                <a:gd name="connsiteY40" fmla="*/ 1548527 h 1577204"/>
                <a:gd name="connsiteX41" fmla="*/ 531846 w 1519568"/>
                <a:gd name="connsiteY41" fmla="*/ 30417 h 1577204"/>
                <a:gd name="connsiteX42" fmla="*/ 202606 w 1519568"/>
                <a:gd name="connsiteY42" fmla="*/ 219466 h 1577204"/>
                <a:gd name="connsiteX43" fmla="*/ 164619 w 1519568"/>
                <a:gd name="connsiteY43" fmla="*/ 259760 h 1577204"/>
                <a:gd name="connsiteX44" fmla="*/ 164619 w 1519568"/>
                <a:gd name="connsiteY44" fmla="*/ 1319896 h 1577204"/>
                <a:gd name="connsiteX45" fmla="*/ 180983 w 1519568"/>
                <a:gd name="connsiteY45" fmla="*/ 1338787 h 1577204"/>
                <a:gd name="connsiteX46" fmla="*/ 202606 w 1519568"/>
                <a:gd name="connsiteY46" fmla="*/ 1359172 h 1577204"/>
                <a:gd name="connsiteX47" fmla="*/ 329240 w 1519568"/>
                <a:gd name="connsiteY47" fmla="*/ 120311 h 1577204"/>
                <a:gd name="connsiteX48" fmla="*/ 329240 w 1519568"/>
                <a:gd name="connsiteY48" fmla="*/ 1458714 h 1577204"/>
                <a:gd name="connsiteX49" fmla="*/ 366727 w 1519568"/>
                <a:gd name="connsiteY49" fmla="*/ 1482035 h 1577204"/>
                <a:gd name="connsiteX50" fmla="*/ 367226 w 1519568"/>
                <a:gd name="connsiteY50" fmla="*/ 1482252 h 1577204"/>
                <a:gd name="connsiteX51" fmla="*/ 367226 w 1519568"/>
                <a:gd name="connsiteY51" fmla="*/ 98790 h 1577204"/>
                <a:gd name="connsiteX52" fmla="*/ 330480 w 1519568"/>
                <a:gd name="connsiteY52" fmla="*/ 119438 h 157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519568" h="1577204">
                  <a:moveTo>
                    <a:pt x="1481582" y="484611"/>
                  </a:moveTo>
                  <a:lnTo>
                    <a:pt x="1481582" y="1088233"/>
                  </a:lnTo>
                  <a:lnTo>
                    <a:pt x="1504888" y="1034626"/>
                  </a:lnTo>
                  <a:lnTo>
                    <a:pt x="1519568" y="968217"/>
                  </a:lnTo>
                  <a:lnTo>
                    <a:pt x="1519568" y="602441"/>
                  </a:lnTo>
                  <a:lnTo>
                    <a:pt x="1516391" y="583490"/>
                  </a:lnTo>
                  <a:cubicBezTo>
                    <a:pt x="1509699" y="558662"/>
                    <a:pt x="1501763" y="534060"/>
                    <a:pt x="1492572" y="509776"/>
                  </a:cubicBezTo>
                  <a:close/>
                  <a:moveTo>
                    <a:pt x="1316962" y="235802"/>
                  </a:moveTo>
                  <a:lnTo>
                    <a:pt x="1316962" y="1343384"/>
                  </a:lnTo>
                  <a:lnTo>
                    <a:pt x="1354949" y="1303090"/>
                  </a:lnTo>
                  <a:lnTo>
                    <a:pt x="1354949" y="278471"/>
                  </a:lnTo>
                  <a:lnTo>
                    <a:pt x="1322551" y="241071"/>
                  </a:lnTo>
                  <a:close/>
                  <a:moveTo>
                    <a:pt x="1152342" y="107488"/>
                  </a:moveTo>
                  <a:lnTo>
                    <a:pt x="1152342" y="1472057"/>
                  </a:lnTo>
                  <a:lnTo>
                    <a:pt x="1173053" y="1460419"/>
                  </a:lnTo>
                  <a:lnTo>
                    <a:pt x="1190328" y="1448269"/>
                  </a:lnTo>
                  <a:lnTo>
                    <a:pt x="1190328" y="131120"/>
                  </a:lnTo>
                  <a:close/>
                  <a:moveTo>
                    <a:pt x="987721" y="34875"/>
                  </a:moveTo>
                  <a:lnTo>
                    <a:pt x="987721" y="1543361"/>
                  </a:lnTo>
                  <a:lnTo>
                    <a:pt x="1025707" y="1528959"/>
                  </a:lnTo>
                  <a:lnTo>
                    <a:pt x="1025707" y="49521"/>
                  </a:lnTo>
                  <a:lnTo>
                    <a:pt x="996464" y="36807"/>
                  </a:lnTo>
                  <a:close/>
                  <a:moveTo>
                    <a:pt x="823101" y="3355"/>
                  </a:moveTo>
                  <a:lnTo>
                    <a:pt x="823101" y="1577204"/>
                  </a:lnTo>
                  <a:lnTo>
                    <a:pt x="861088" y="1570836"/>
                  </a:lnTo>
                  <a:lnTo>
                    <a:pt x="861088" y="6883"/>
                  </a:lnTo>
                  <a:lnTo>
                    <a:pt x="848123" y="4017"/>
                  </a:lnTo>
                  <a:close/>
                  <a:moveTo>
                    <a:pt x="658480" y="6334"/>
                  </a:moveTo>
                  <a:lnTo>
                    <a:pt x="658480" y="1575922"/>
                  </a:lnTo>
                  <a:lnTo>
                    <a:pt x="696467" y="1576927"/>
                  </a:lnTo>
                  <a:lnTo>
                    <a:pt x="696467" y="6"/>
                  </a:lnTo>
                  <a:lnTo>
                    <a:pt x="696255" y="0"/>
                  </a:lnTo>
                  <a:close/>
                  <a:moveTo>
                    <a:pt x="37986" y="454743"/>
                  </a:moveTo>
                  <a:lnTo>
                    <a:pt x="0" y="542116"/>
                  </a:lnTo>
                  <a:lnTo>
                    <a:pt x="0" y="1036156"/>
                  </a:lnTo>
                  <a:lnTo>
                    <a:pt x="10962" y="1070081"/>
                  </a:lnTo>
                  <a:lnTo>
                    <a:pt x="37986" y="1131965"/>
                  </a:lnTo>
                  <a:close/>
                  <a:moveTo>
                    <a:pt x="493860" y="44820"/>
                  </a:moveTo>
                  <a:lnTo>
                    <a:pt x="493860" y="1537307"/>
                  </a:lnTo>
                  <a:lnTo>
                    <a:pt x="507070" y="1543050"/>
                  </a:lnTo>
                  <a:lnTo>
                    <a:pt x="531846" y="1548527"/>
                  </a:lnTo>
                  <a:lnTo>
                    <a:pt x="531846" y="30417"/>
                  </a:lnTo>
                  <a:close/>
                  <a:moveTo>
                    <a:pt x="202606" y="219466"/>
                  </a:moveTo>
                  <a:lnTo>
                    <a:pt x="164619" y="259760"/>
                  </a:lnTo>
                  <a:lnTo>
                    <a:pt x="164619" y="1319896"/>
                  </a:lnTo>
                  <a:lnTo>
                    <a:pt x="180983" y="1338787"/>
                  </a:lnTo>
                  <a:lnTo>
                    <a:pt x="202606" y="1359172"/>
                  </a:lnTo>
                  <a:close/>
                  <a:moveTo>
                    <a:pt x="329240" y="120311"/>
                  </a:moveTo>
                  <a:lnTo>
                    <a:pt x="329240" y="1458714"/>
                  </a:lnTo>
                  <a:lnTo>
                    <a:pt x="366727" y="1482035"/>
                  </a:lnTo>
                  <a:lnTo>
                    <a:pt x="367226" y="1482252"/>
                  </a:lnTo>
                  <a:lnTo>
                    <a:pt x="367226" y="98790"/>
                  </a:lnTo>
                  <a:lnTo>
                    <a:pt x="330480" y="1194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任意多边形: 形状 11"/>
            <p:cNvSpPr/>
            <p:nvPr/>
          </p:nvSpPr>
          <p:spPr>
            <a:xfrm rot="19319390" flipH="1">
              <a:off x="10618293" y="5984383"/>
              <a:ext cx="374996" cy="389220"/>
            </a:xfrm>
            <a:custGeom>
              <a:avLst/>
              <a:gdLst>
                <a:gd name="connsiteX0" fmla="*/ 1481582 w 1519568"/>
                <a:gd name="connsiteY0" fmla="*/ 484611 h 1577204"/>
                <a:gd name="connsiteX1" fmla="*/ 1481582 w 1519568"/>
                <a:gd name="connsiteY1" fmla="*/ 1088233 h 1577204"/>
                <a:gd name="connsiteX2" fmla="*/ 1504888 w 1519568"/>
                <a:gd name="connsiteY2" fmla="*/ 1034626 h 1577204"/>
                <a:gd name="connsiteX3" fmla="*/ 1519568 w 1519568"/>
                <a:gd name="connsiteY3" fmla="*/ 968217 h 1577204"/>
                <a:gd name="connsiteX4" fmla="*/ 1519568 w 1519568"/>
                <a:gd name="connsiteY4" fmla="*/ 602441 h 1577204"/>
                <a:gd name="connsiteX5" fmla="*/ 1516391 w 1519568"/>
                <a:gd name="connsiteY5" fmla="*/ 583490 h 1577204"/>
                <a:gd name="connsiteX6" fmla="*/ 1492572 w 1519568"/>
                <a:gd name="connsiteY6" fmla="*/ 509776 h 1577204"/>
                <a:gd name="connsiteX7" fmla="*/ 1316962 w 1519568"/>
                <a:gd name="connsiteY7" fmla="*/ 235802 h 1577204"/>
                <a:gd name="connsiteX8" fmla="*/ 1316962 w 1519568"/>
                <a:gd name="connsiteY8" fmla="*/ 1343384 h 1577204"/>
                <a:gd name="connsiteX9" fmla="*/ 1354949 w 1519568"/>
                <a:gd name="connsiteY9" fmla="*/ 1303090 h 1577204"/>
                <a:gd name="connsiteX10" fmla="*/ 1354949 w 1519568"/>
                <a:gd name="connsiteY10" fmla="*/ 278471 h 1577204"/>
                <a:gd name="connsiteX11" fmla="*/ 1322551 w 1519568"/>
                <a:gd name="connsiteY11" fmla="*/ 241071 h 1577204"/>
                <a:gd name="connsiteX12" fmla="*/ 1152342 w 1519568"/>
                <a:gd name="connsiteY12" fmla="*/ 107488 h 1577204"/>
                <a:gd name="connsiteX13" fmla="*/ 1152342 w 1519568"/>
                <a:gd name="connsiteY13" fmla="*/ 1472057 h 1577204"/>
                <a:gd name="connsiteX14" fmla="*/ 1173053 w 1519568"/>
                <a:gd name="connsiteY14" fmla="*/ 1460419 h 1577204"/>
                <a:gd name="connsiteX15" fmla="*/ 1190328 w 1519568"/>
                <a:gd name="connsiteY15" fmla="*/ 1448269 h 1577204"/>
                <a:gd name="connsiteX16" fmla="*/ 1190328 w 1519568"/>
                <a:gd name="connsiteY16" fmla="*/ 131120 h 1577204"/>
                <a:gd name="connsiteX17" fmla="*/ 987721 w 1519568"/>
                <a:gd name="connsiteY17" fmla="*/ 34875 h 1577204"/>
                <a:gd name="connsiteX18" fmla="*/ 987721 w 1519568"/>
                <a:gd name="connsiteY18" fmla="*/ 1543361 h 1577204"/>
                <a:gd name="connsiteX19" fmla="*/ 1025707 w 1519568"/>
                <a:gd name="connsiteY19" fmla="*/ 1528959 h 1577204"/>
                <a:gd name="connsiteX20" fmla="*/ 1025707 w 1519568"/>
                <a:gd name="connsiteY20" fmla="*/ 49521 h 1577204"/>
                <a:gd name="connsiteX21" fmla="*/ 996464 w 1519568"/>
                <a:gd name="connsiteY21" fmla="*/ 36807 h 1577204"/>
                <a:gd name="connsiteX22" fmla="*/ 823101 w 1519568"/>
                <a:gd name="connsiteY22" fmla="*/ 3355 h 1577204"/>
                <a:gd name="connsiteX23" fmla="*/ 823101 w 1519568"/>
                <a:gd name="connsiteY23" fmla="*/ 1577204 h 1577204"/>
                <a:gd name="connsiteX24" fmla="*/ 861088 w 1519568"/>
                <a:gd name="connsiteY24" fmla="*/ 1570836 h 1577204"/>
                <a:gd name="connsiteX25" fmla="*/ 861088 w 1519568"/>
                <a:gd name="connsiteY25" fmla="*/ 6883 h 1577204"/>
                <a:gd name="connsiteX26" fmla="*/ 848123 w 1519568"/>
                <a:gd name="connsiteY26" fmla="*/ 4017 h 1577204"/>
                <a:gd name="connsiteX27" fmla="*/ 658480 w 1519568"/>
                <a:gd name="connsiteY27" fmla="*/ 6334 h 1577204"/>
                <a:gd name="connsiteX28" fmla="*/ 658480 w 1519568"/>
                <a:gd name="connsiteY28" fmla="*/ 1575922 h 1577204"/>
                <a:gd name="connsiteX29" fmla="*/ 696467 w 1519568"/>
                <a:gd name="connsiteY29" fmla="*/ 1576927 h 1577204"/>
                <a:gd name="connsiteX30" fmla="*/ 696467 w 1519568"/>
                <a:gd name="connsiteY30" fmla="*/ 6 h 1577204"/>
                <a:gd name="connsiteX31" fmla="*/ 696255 w 1519568"/>
                <a:gd name="connsiteY31" fmla="*/ 0 h 1577204"/>
                <a:gd name="connsiteX32" fmla="*/ 37986 w 1519568"/>
                <a:gd name="connsiteY32" fmla="*/ 454743 h 1577204"/>
                <a:gd name="connsiteX33" fmla="*/ 0 w 1519568"/>
                <a:gd name="connsiteY33" fmla="*/ 542116 h 1577204"/>
                <a:gd name="connsiteX34" fmla="*/ 0 w 1519568"/>
                <a:gd name="connsiteY34" fmla="*/ 1036156 h 1577204"/>
                <a:gd name="connsiteX35" fmla="*/ 10962 w 1519568"/>
                <a:gd name="connsiteY35" fmla="*/ 1070081 h 1577204"/>
                <a:gd name="connsiteX36" fmla="*/ 37986 w 1519568"/>
                <a:gd name="connsiteY36" fmla="*/ 1131965 h 1577204"/>
                <a:gd name="connsiteX37" fmla="*/ 493860 w 1519568"/>
                <a:gd name="connsiteY37" fmla="*/ 44820 h 1577204"/>
                <a:gd name="connsiteX38" fmla="*/ 493860 w 1519568"/>
                <a:gd name="connsiteY38" fmla="*/ 1537307 h 1577204"/>
                <a:gd name="connsiteX39" fmla="*/ 507070 w 1519568"/>
                <a:gd name="connsiteY39" fmla="*/ 1543050 h 1577204"/>
                <a:gd name="connsiteX40" fmla="*/ 531846 w 1519568"/>
                <a:gd name="connsiteY40" fmla="*/ 1548527 h 1577204"/>
                <a:gd name="connsiteX41" fmla="*/ 531846 w 1519568"/>
                <a:gd name="connsiteY41" fmla="*/ 30417 h 1577204"/>
                <a:gd name="connsiteX42" fmla="*/ 202606 w 1519568"/>
                <a:gd name="connsiteY42" fmla="*/ 219466 h 1577204"/>
                <a:gd name="connsiteX43" fmla="*/ 164619 w 1519568"/>
                <a:gd name="connsiteY43" fmla="*/ 259760 h 1577204"/>
                <a:gd name="connsiteX44" fmla="*/ 164619 w 1519568"/>
                <a:gd name="connsiteY44" fmla="*/ 1319896 h 1577204"/>
                <a:gd name="connsiteX45" fmla="*/ 180983 w 1519568"/>
                <a:gd name="connsiteY45" fmla="*/ 1338787 h 1577204"/>
                <a:gd name="connsiteX46" fmla="*/ 202606 w 1519568"/>
                <a:gd name="connsiteY46" fmla="*/ 1359172 h 1577204"/>
                <a:gd name="connsiteX47" fmla="*/ 329240 w 1519568"/>
                <a:gd name="connsiteY47" fmla="*/ 120311 h 1577204"/>
                <a:gd name="connsiteX48" fmla="*/ 329240 w 1519568"/>
                <a:gd name="connsiteY48" fmla="*/ 1458714 h 1577204"/>
                <a:gd name="connsiteX49" fmla="*/ 366727 w 1519568"/>
                <a:gd name="connsiteY49" fmla="*/ 1482035 h 1577204"/>
                <a:gd name="connsiteX50" fmla="*/ 367226 w 1519568"/>
                <a:gd name="connsiteY50" fmla="*/ 1482252 h 1577204"/>
                <a:gd name="connsiteX51" fmla="*/ 367226 w 1519568"/>
                <a:gd name="connsiteY51" fmla="*/ 98790 h 1577204"/>
                <a:gd name="connsiteX52" fmla="*/ 330480 w 1519568"/>
                <a:gd name="connsiteY52" fmla="*/ 119438 h 157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519568" h="1577204">
                  <a:moveTo>
                    <a:pt x="1481582" y="484611"/>
                  </a:moveTo>
                  <a:lnTo>
                    <a:pt x="1481582" y="1088233"/>
                  </a:lnTo>
                  <a:lnTo>
                    <a:pt x="1504888" y="1034626"/>
                  </a:lnTo>
                  <a:lnTo>
                    <a:pt x="1519568" y="968217"/>
                  </a:lnTo>
                  <a:lnTo>
                    <a:pt x="1519568" y="602441"/>
                  </a:lnTo>
                  <a:lnTo>
                    <a:pt x="1516391" y="583490"/>
                  </a:lnTo>
                  <a:cubicBezTo>
                    <a:pt x="1509699" y="558662"/>
                    <a:pt x="1501763" y="534060"/>
                    <a:pt x="1492572" y="509776"/>
                  </a:cubicBezTo>
                  <a:close/>
                  <a:moveTo>
                    <a:pt x="1316962" y="235802"/>
                  </a:moveTo>
                  <a:lnTo>
                    <a:pt x="1316962" y="1343384"/>
                  </a:lnTo>
                  <a:lnTo>
                    <a:pt x="1354949" y="1303090"/>
                  </a:lnTo>
                  <a:lnTo>
                    <a:pt x="1354949" y="278471"/>
                  </a:lnTo>
                  <a:lnTo>
                    <a:pt x="1322551" y="241071"/>
                  </a:lnTo>
                  <a:close/>
                  <a:moveTo>
                    <a:pt x="1152342" y="107488"/>
                  </a:moveTo>
                  <a:lnTo>
                    <a:pt x="1152342" y="1472057"/>
                  </a:lnTo>
                  <a:lnTo>
                    <a:pt x="1173053" y="1460419"/>
                  </a:lnTo>
                  <a:lnTo>
                    <a:pt x="1190328" y="1448269"/>
                  </a:lnTo>
                  <a:lnTo>
                    <a:pt x="1190328" y="131120"/>
                  </a:lnTo>
                  <a:close/>
                  <a:moveTo>
                    <a:pt x="987721" y="34875"/>
                  </a:moveTo>
                  <a:lnTo>
                    <a:pt x="987721" y="1543361"/>
                  </a:lnTo>
                  <a:lnTo>
                    <a:pt x="1025707" y="1528959"/>
                  </a:lnTo>
                  <a:lnTo>
                    <a:pt x="1025707" y="49521"/>
                  </a:lnTo>
                  <a:lnTo>
                    <a:pt x="996464" y="36807"/>
                  </a:lnTo>
                  <a:close/>
                  <a:moveTo>
                    <a:pt x="823101" y="3355"/>
                  </a:moveTo>
                  <a:lnTo>
                    <a:pt x="823101" y="1577204"/>
                  </a:lnTo>
                  <a:lnTo>
                    <a:pt x="861088" y="1570836"/>
                  </a:lnTo>
                  <a:lnTo>
                    <a:pt x="861088" y="6883"/>
                  </a:lnTo>
                  <a:lnTo>
                    <a:pt x="848123" y="4017"/>
                  </a:lnTo>
                  <a:close/>
                  <a:moveTo>
                    <a:pt x="658480" y="6334"/>
                  </a:moveTo>
                  <a:lnTo>
                    <a:pt x="658480" y="1575922"/>
                  </a:lnTo>
                  <a:lnTo>
                    <a:pt x="696467" y="1576927"/>
                  </a:lnTo>
                  <a:lnTo>
                    <a:pt x="696467" y="6"/>
                  </a:lnTo>
                  <a:lnTo>
                    <a:pt x="696255" y="0"/>
                  </a:lnTo>
                  <a:close/>
                  <a:moveTo>
                    <a:pt x="37986" y="454743"/>
                  </a:moveTo>
                  <a:lnTo>
                    <a:pt x="0" y="542116"/>
                  </a:lnTo>
                  <a:lnTo>
                    <a:pt x="0" y="1036156"/>
                  </a:lnTo>
                  <a:lnTo>
                    <a:pt x="10962" y="1070081"/>
                  </a:lnTo>
                  <a:lnTo>
                    <a:pt x="37986" y="1131965"/>
                  </a:lnTo>
                  <a:close/>
                  <a:moveTo>
                    <a:pt x="493860" y="44820"/>
                  </a:moveTo>
                  <a:lnTo>
                    <a:pt x="493860" y="1537307"/>
                  </a:lnTo>
                  <a:lnTo>
                    <a:pt x="507070" y="1543050"/>
                  </a:lnTo>
                  <a:lnTo>
                    <a:pt x="531846" y="1548527"/>
                  </a:lnTo>
                  <a:lnTo>
                    <a:pt x="531846" y="30417"/>
                  </a:lnTo>
                  <a:close/>
                  <a:moveTo>
                    <a:pt x="202606" y="219466"/>
                  </a:moveTo>
                  <a:lnTo>
                    <a:pt x="164619" y="259760"/>
                  </a:lnTo>
                  <a:lnTo>
                    <a:pt x="164619" y="1319896"/>
                  </a:lnTo>
                  <a:lnTo>
                    <a:pt x="180983" y="1338787"/>
                  </a:lnTo>
                  <a:lnTo>
                    <a:pt x="202606" y="1359172"/>
                  </a:lnTo>
                  <a:close/>
                  <a:moveTo>
                    <a:pt x="329240" y="120311"/>
                  </a:moveTo>
                  <a:lnTo>
                    <a:pt x="329240" y="1458714"/>
                  </a:lnTo>
                  <a:lnTo>
                    <a:pt x="366727" y="1482035"/>
                  </a:lnTo>
                  <a:lnTo>
                    <a:pt x="367226" y="1482252"/>
                  </a:lnTo>
                  <a:lnTo>
                    <a:pt x="367226" y="98790"/>
                  </a:lnTo>
                  <a:lnTo>
                    <a:pt x="330480" y="1194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60400" y="1962304"/>
            <a:ext cx="5764528" cy="1944763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660400" y="4143663"/>
            <a:ext cx="5764528" cy="508703"/>
          </a:xfrm>
        </p:spPr>
        <p:txBody>
          <a:bodyPr>
            <a:norm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586374"/>
            <a:ext cx="4517887" cy="274320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4" hasCustomPrompt="1"/>
          </p:nvPr>
        </p:nvSpPr>
        <p:spPr>
          <a:xfrm>
            <a:off x="660398" y="5859780"/>
            <a:ext cx="4517887" cy="274320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www.officeplus.cn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 userDrawn="1"/>
        </p:nvGrpSpPr>
        <p:grpSpPr>
          <a:xfrm>
            <a:off x="0" y="0"/>
            <a:ext cx="12192001" cy="6858001"/>
            <a:chOff x="0" y="685801"/>
            <a:chExt cx="12192001" cy="6858001"/>
          </a:xfrm>
        </p:grpSpPr>
        <p:sp>
          <p:nvSpPr>
            <p:cNvPr id="7" name="矩形 6"/>
            <p:cNvSpPr/>
            <p:nvPr/>
          </p:nvSpPr>
          <p:spPr>
            <a:xfrm>
              <a:off x="1" y="685801"/>
              <a:ext cx="12192000" cy="6858001"/>
            </a:xfrm>
            <a:prstGeom prst="rect">
              <a:avLst/>
            </a:prstGeom>
            <a:blipFill>
              <a:blip r:embed="rId2"/>
              <a:srcRect/>
              <a:stretch>
                <a:fillRect t="-9354" b="-9354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0" y="696686"/>
              <a:ext cx="12192000" cy="6847115"/>
            </a:xfrm>
            <a:prstGeom prst="rect">
              <a:avLst/>
            </a:prstGeom>
            <a:gradFill>
              <a:gsLst>
                <a:gs pos="24000">
                  <a:schemeClr val="accent1">
                    <a:alpha val="94000"/>
                  </a:schemeClr>
                </a:gs>
                <a:gs pos="70000">
                  <a:schemeClr val="accent2">
                    <a:alpha val="17000"/>
                  </a:schemeClr>
                </a:gs>
              </a:gsLst>
              <a:lin ang="19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478224" y="1271276"/>
              <a:ext cx="11235553" cy="5708821"/>
            </a:xfrm>
            <a:prstGeom prst="rect">
              <a:avLst/>
            </a:prstGeom>
            <a:noFill/>
            <a:ln w="76200" cmpd="sng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252884" y="1045936"/>
              <a:ext cx="450677" cy="450677"/>
            </a:xfrm>
            <a:prstGeom prst="rect">
              <a:avLst/>
            </a:prstGeom>
            <a:solidFill>
              <a:schemeClr val="tx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标题 1"/>
          <p:cNvSpPr>
            <a:spLocks noGrp="1"/>
          </p:cNvSpPr>
          <p:nvPr>
            <p:ph type="ctrTitle" hasCustomPrompt="1"/>
          </p:nvPr>
        </p:nvSpPr>
        <p:spPr>
          <a:xfrm>
            <a:off x="660399" y="2520730"/>
            <a:ext cx="8051801" cy="1463040"/>
          </a:xfrm>
        </p:spPr>
        <p:txBody>
          <a:bodyPr anchor="b">
            <a:noAutofit/>
          </a:bodyPr>
          <a:lstStyle>
            <a:lvl1pPr algn="l">
              <a:defRPr sz="6000"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660399" y="4459609"/>
            <a:ext cx="8051801" cy="508703"/>
          </a:xfrm>
        </p:spPr>
        <p:txBody>
          <a:bodyPr>
            <a:norm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7013717" y="5859780"/>
            <a:ext cx="4517887" cy="274320"/>
          </a:xfrm>
        </p:spPr>
        <p:txBody>
          <a:bodyPr anchor="ctr">
            <a:normAutofit/>
          </a:bodyPr>
          <a:lstStyle>
            <a:lvl1pPr marL="0" indent="0" algn="r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4" name="文本占位符 4"/>
          <p:cNvSpPr>
            <a:spLocks noGrp="1"/>
          </p:cNvSpPr>
          <p:nvPr>
            <p:ph type="body" sz="quarter" idx="14" hasCustomPrompt="1"/>
          </p:nvPr>
        </p:nvSpPr>
        <p:spPr>
          <a:xfrm>
            <a:off x="660398" y="5859780"/>
            <a:ext cx="4517887" cy="274320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www.officeplus.c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">
    <p:bg>
      <p:bgPr>
        <a:blipFill>
          <a:blip r:embed="rId2">
            <a:alphaModFix amt="64000"/>
          </a:blip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0" y="-100056"/>
            <a:ext cx="12192000" cy="6958056"/>
            <a:chOff x="0" y="-100056"/>
            <a:chExt cx="12192000" cy="6958056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 flipV="1">
              <a:off x="0" y="5879198"/>
              <a:ext cx="12192000" cy="978802"/>
            </a:xfrm>
            <a:prstGeom prst="rect">
              <a:avLst/>
            </a:prstGeom>
          </p:spPr>
        </p:pic>
        <p:grpSp>
          <p:nvGrpSpPr>
            <p:cNvPr id="7" name="组合 6"/>
            <p:cNvGrpSpPr/>
            <p:nvPr/>
          </p:nvGrpSpPr>
          <p:grpSpPr>
            <a:xfrm>
              <a:off x="6772955" y="-100056"/>
              <a:ext cx="4652963" cy="6234156"/>
              <a:chOff x="6772955" y="-311922"/>
              <a:chExt cx="4652963" cy="6234156"/>
            </a:xfrm>
          </p:grpSpPr>
          <p:grpSp>
            <p:nvGrpSpPr>
              <p:cNvPr id="9" name="组合 8"/>
              <p:cNvGrpSpPr/>
              <p:nvPr/>
            </p:nvGrpSpPr>
            <p:grpSpPr>
              <a:xfrm>
                <a:off x="6772955" y="1286061"/>
                <a:ext cx="4652963" cy="4184650"/>
                <a:chOff x="7135812" y="1639888"/>
                <a:chExt cx="4652963" cy="4184650"/>
              </a:xfrm>
            </p:grpSpPr>
            <p:sp>
              <p:nvSpPr>
                <p:cNvPr id="11" name="矩形 10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7356475" y="1639888"/>
                  <a:ext cx="4211638" cy="39639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12" name="任意多边形: 形状 11"/>
                <p:cNvSpPr/>
                <p:nvPr/>
              </p:nvSpPr>
              <p:spPr bwMode="auto">
                <a:xfrm>
                  <a:off x="7192962" y="1649413"/>
                  <a:ext cx="4535488" cy="4114799"/>
                </a:xfrm>
                <a:custGeom>
                  <a:avLst/>
                  <a:gdLst>
                    <a:gd name="T0" fmla="*/ 4530 w 4994"/>
                    <a:gd name="T1" fmla="*/ 1194 h 4531"/>
                    <a:gd name="T2" fmla="*/ 3336 w 4994"/>
                    <a:gd name="T3" fmla="*/ 4067 h 4531"/>
                    <a:gd name="T4" fmla="*/ 463 w 4994"/>
                    <a:gd name="T5" fmla="*/ 2873 h 4531"/>
                    <a:gd name="T6" fmla="*/ 1657 w 4994"/>
                    <a:gd name="T7" fmla="*/ 0 h 4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994" h="4531">
                      <a:moveTo>
                        <a:pt x="4530" y="1194"/>
                      </a:moveTo>
                      <a:cubicBezTo>
                        <a:pt x="4994" y="2318"/>
                        <a:pt x="4460" y="3604"/>
                        <a:pt x="3336" y="4067"/>
                      </a:cubicBezTo>
                      <a:cubicBezTo>
                        <a:pt x="2213" y="4531"/>
                        <a:pt x="927" y="3996"/>
                        <a:pt x="463" y="2873"/>
                      </a:cubicBezTo>
                      <a:cubicBezTo>
                        <a:pt x="0" y="1750"/>
                        <a:pt x="534" y="464"/>
                        <a:pt x="1657" y="0"/>
                      </a:cubicBezTo>
                    </a:path>
                  </a:pathLst>
                </a:custGeom>
                <a:noFill/>
                <a:ln w="22225" cap="flat">
                  <a:solidFill>
                    <a:srgbClr val="B28247"/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13" name="任意多边形: 形状 12"/>
                <p:cNvSpPr/>
                <p:nvPr/>
              </p:nvSpPr>
              <p:spPr bwMode="auto">
                <a:xfrm>
                  <a:off x="7135812" y="1951038"/>
                  <a:ext cx="4652963" cy="3873500"/>
                </a:xfrm>
                <a:custGeom>
                  <a:avLst/>
                  <a:gdLst>
                    <a:gd name="T0" fmla="*/ 4265 w 5124"/>
                    <a:gd name="T1" fmla="*/ 148 h 4265"/>
                    <a:gd name="T2" fmla="*/ 4118 w 5124"/>
                    <a:gd name="T3" fmla="*/ 3406 h 4265"/>
                    <a:gd name="T4" fmla="*/ 859 w 5124"/>
                    <a:gd name="T5" fmla="*/ 3259 h 4265"/>
                    <a:gd name="T6" fmla="*/ 1007 w 5124"/>
                    <a:gd name="T7" fmla="*/ 0 h 4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124" h="4265">
                      <a:moveTo>
                        <a:pt x="4265" y="148"/>
                      </a:moveTo>
                      <a:cubicBezTo>
                        <a:pt x="5124" y="1088"/>
                        <a:pt x="5059" y="2547"/>
                        <a:pt x="4118" y="3406"/>
                      </a:cubicBezTo>
                      <a:cubicBezTo>
                        <a:pt x="3178" y="4265"/>
                        <a:pt x="1719" y="4199"/>
                        <a:pt x="859" y="3259"/>
                      </a:cubicBezTo>
                      <a:cubicBezTo>
                        <a:pt x="0" y="2319"/>
                        <a:pt x="66" y="860"/>
                        <a:pt x="1007" y="0"/>
                      </a:cubicBezTo>
                    </a:path>
                  </a:pathLst>
                </a:custGeom>
                <a:noFill/>
                <a:ln w="22225" cap="flat">
                  <a:solidFill>
                    <a:srgbClr val="B28247"/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14" name="椭圆 13"/>
                <p:cNvSpPr>
                  <a:spLocks noChangeArrowheads="1"/>
                </p:cNvSpPr>
                <p:nvPr/>
              </p:nvSpPr>
              <p:spPr bwMode="auto">
                <a:xfrm>
                  <a:off x="7607300" y="1643063"/>
                  <a:ext cx="3705225" cy="3705225"/>
                </a:xfrm>
                <a:prstGeom prst="ellipse">
                  <a:avLst/>
                </a:prstGeom>
                <a:blipFill>
                  <a:blip r:embed="rId4" cstate="email"/>
                  <a:srcRect/>
                  <a:stretch>
                    <a:fillRect l="-3028" r="-3028"/>
                  </a:stretch>
                </a:blip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pic>
            <p:nvPicPr>
              <p:cNvPr id="10" name="图片 9"/>
              <p:cNvPicPr>
                <a:picLocks noChangeAspect="1"/>
              </p:cNvPicPr>
              <p:nvPr/>
            </p:nvPicPr>
            <p:blipFill>
              <a:blip r:embed="rId5" cstate="email"/>
              <a:stretch>
                <a:fillRect/>
              </a:stretch>
            </p:blipFill>
            <p:spPr>
              <a:xfrm>
                <a:off x="8015983" y="-311922"/>
                <a:ext cx="2556004" cy="6234156"/>
              </a:xfrm>
              <a:prstGeom prst="rect">
                <a:avLst/>
              </a:prstGeom>
            </p:spPr>
          </p:pic>
        </p:grpSp>
      </p:grp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809077"/>
            <a:ext cx="6077630" cy="1938992"/>
          </a:xfrm>
        </p:spPr>
        <p:txBody>
          <a:bodyPr anchor="ctr">
            <a:normAutofit/>
          </a:bodyPr>
          <a:lstStyle>
            <a:lvl1pPr>
              <a:defRPr sz="6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957928"/>
            <a:ext cx="4517887" cy="27432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1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232248"/>
            <a:ext cx="4517887" cy="27432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1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www.officeplus.cn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73099" y="3025184"/>
            <a:ext cx="1084580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73099" y="1773937"/>
            <a:ext cx="10845800" cy="12512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0" y="-238130"/>
            <a:ext cx="11712575" cy="7372349"/>
          </a:xfrm>
          <a:prstGeom prst="rect">
            <a:avLst/>
          </a:prstGeom>
          <a:gradFill>
            <a:gsLst>
              <a:gs pos="0">
                <a:schemeClr val="accent2">
                  <a:alpha val="85000"/>
                </a:schemeClr>
              </a:gs>
              <a:gs pos="100000">
                <a:schemeClr val="accent1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7" name="文本占位符 66"/>
          <p:cNvSpPr>
            <a:spLocks noGrp="1"/>
          </p:cNvSpPr>
          <p:nvPr>
            <p:ph type="body" sz="quarter" idx="17"/>
          </p:nvPr>
        </p:nvSpPr>
        <p:spPr>
          <a:xfrm>
            <a:off x="1345817" y="1109463"/>
            <a:ext cx="2619375" cy="2555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kumimoji="0" lang="zh-CN" altLang="en-US" sz="12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5" name="标题 64"/>
          <p:cNvSpPr>
            <a:spLocks noGrp="1"/>
          </p:cNvSpPr>
          <p:nvPr>
            <p:ph type="title"/>
          </p:nvPr>
        </p:nvSpPr>
        <p:spPr>
          <a:xfrm>
            <a:off x="1294492" y="433384"/>
            <a:ext cx="10515600" cy="836128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400" rtl="0" eaLnBrk="1" latinLnBrk="0" hangingPunct="1">
              <a:defRPr lang="zh-CN" altLang="en-US" sz="4400" b="1" kern="1200" spc="400" dirty="0">
                <a:solidFill>
                  <a:prstClr val="white"/>
                </a:solidFill>
                <a:latin typeface="+mj-ea"/>
                <a:ea typeface="+mj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sp>
        <p:nvSpPr>
          <p:cNvPr id="11" name="六边形 10"/>
          <p:cNvSpPr/>
          <p:nvPr/>
        </p:nvSpPr>
        <p:spPr>
          <a:xfrm>
            <a:off x="5567504" y="-238130"/>
            <a:ext cx="8551926" cy="7372350"/>
          </a:xfrm>
          <a:prstGeom prst="hexagon">
            <a:avLst/>
          </a:prstGeom>
          <a:noFill/>
          <a:ln w="10160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pic>
        <p:nvPicPr>
          <p:cNvPr id="12" name="图片 11" hidden="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85" t="281" r="13561" b="3861"/>
          <a:stretch>
            <a:fillRect/>
          </a:stretch>
        </p:blipFill>
        <p:spPr>
          <a:xfrm>
            <a:off x="5983230" y="0"/>
            <a:ext cx="9601200" cy="6857991"/>
          </a:xfrm>
          <a:prstGeom prst="hexagon">
            <a:avLst/>
          </a:prstGeom>
          <a:effectLst>
            <a:outerShdw blurRad="127000" dist="127000" dir="8100000" algn="tr" rotWithShape="0">
              <a:prstClr val="black">
                <a:alpha val="30000"/>
              </a:prstClr>
            </a:outerShdw>
          </a:effectLst>
        </p:spPr>
      </p:pic>
      <p:sp>
        <p:nvSpPr>
          <p:cNvPr id="13" name="文本框 12"/>
          <p:cNvSpPr txBox="1"/>
          <p:nvPr/>
        </p:nvSpPr>
        <p:spPr>
          <a:xfrm>
            <a:off x="1345598" y="2932819"/>
            <a:ext cx="13498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1364695" y="3839726"/>
            <a:ext cx="13498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345598" y="4746633"/>
            <a:ext cx="13498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345598" y="2025912"/>
            <a:ext cx="13498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364695" y="5653541"/>
            <a:ext cx="13498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1367452" y="2012679"/>
            <a:ext cx="666911" cy="473815"/>
            <a:chOff x="1537571" y="1906782"/>
            <a:chExt cx="880172" cy="625330"/>
          </a:xfrm>
        </p:grpSpPr>
        <p:grpSp>
          <p:nvGrpSpPr>
            <p:cNvPr id="19" name="组合 18"/>
            <p:cNvGrpSpPr/>
            <p:nvPr/>
          </p:nvGrpSpPr>
          <p:grpSpPr>
            <a:xfrm>
              <a:off x="1537571" y="1906782"/>
              <a:ext cx="880172" cy="625330"/>
              <a:chOff x="1377599" y="1936639"/>
              <a:chExt cx="777834" cy="552622"/>
            </a:xfrm>
          </p:grpSpPr>
          <p:sp>
            <p:nvSpPr>
              <p:cNvPr id="21" name="矩形 20"/>
              <p:cNvSpPr/>
              <p:nvPr/>
            </p:nvSpPr>
            <p:spPr>
              <a:xfrm rot="2700000">
                <a:off x="1519799" y="1957216"/>
                <a:ext cx="495679" cy="495679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2" name="半闭框 21"/>
              <p:cNvSpPr/>
              <p:nvPr/>
            </p:nvSpPr>
            <p:spPr>
              <a:xfrm rot="18900000">
                <a:off x="1377599" y="212779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半闭框 22"/>
              <p:cNvSpPr/>
              <p:nvPr/>
            </p:nvSpPr>
            <p:spPr>
              <a:xfrm rot="8191478">
                <a:off x="2000920" y="212783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半闭框 23"/>
              <p:cNvSpPr/>
              <p:nvPr/>
            </p:nvSpPr>
            <p:spPr>
              <a:xfrm rot="2702146">
                <a:off x="1694230" y="1936639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半闭框 24"/>
              <p:cNvSpPr/>
              <p:nvPr/>
            </p:nvSpPr>
            <p:spPr>
              <a:xfrm rot="18897854" flipV="1">
                <a:off x="1690382" y="233474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0" name="文本框 19"/>
            <p:cNvSpPr txBox="1"/>
            <p:nvPr/>
          </p:nvSpPr>
          <p:spPr>
            <a:xfrm>
              <a:off x="1726594" y="2034778"/>
              <a:ext cx="502124" cy="4061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zh-CN" sz="2000" b="1" dirty="0">
                  <a:gradFill>
                    <a:gsLst>
                      <a:gs pos="10000">
                        <a:schemeClr val="accent2"/>
                      </a:gs>
                      <a:gs pos="64000">
                        <a:schemeClr val="accent1"/>
                      </a:gs>
                    </a:gsLst>
                    <a:lin ang="0" scaled="0"/>
                  </a:gradFill>
                  <a:latin typeface="Arial Black" panose="020B0A04020102020204" pitchFamily="34" charset="0"/>
                  <a:ea typeface="微软雅黑" panose="020B0503020204020204" pitchFamily="34" charset="-122"/>
                </a:rPr>
                <a:t>01</a:t>
              </a:r>
              <a:endParaRPr lang="zh-CN" altLang="en-US" sz="2000" b="1" dirty="0">
                <a:gradFill>
                  <a:gsLst>
                    <a:gs pos="10000">
                      <a:schemeClr val="accent2"/>
                    </a:gs>
                    <a:gs pos="64000">
                      <a:schemeClr val="accent1"/>
                    </a:gs>
                  </a:gsLst>
                  <a:lin ang="0" scaled="0"/>
                </a:gradFill>
                <a:latin typeface="Arial Black" panose="020B0A040201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1367452" y="2919586"/>
            <a:ext cx="666911" cy="473815"/>
            <a:chOff x="1537571" y="1906780"/>
            <a:chExt cx="880172" cy="625329"/>
          </a:xfrm>
        </p:grpSpPr>
        <p:grpSp>
          <p:nvGrpSpPr>
            <p:cNvPr id="27" name="组合 26"/>
            <p:cNvGrpSpPr/>
            <p:nvPr/>
          </p:nvGrpSpPr>
          <p:grpSpPr>
            <a:xfrm>
              <a:off x="1537571" y="1906780"/>
              <a:ext cx="880172" cy="625329"/>
              <a:chOff x="1377599" y="1936639"/>
              <a:chExt cx="777834" cy="552622"/>
            </a:xfrm>
          </p:grpSpPr>
          <p:sp>
            <p:nvSpPr>
              <p:cNvPr id="29" name="矩形 28"/>
              <p:cNvSpPr/>
              <p:nvPr/>
            </p:nvSpPr>
            <p:spPr>
              <a:xfrm rot="2700000">
                <a:off x="1519799" y="1957216"/>
                <a:ext cx="495679" cy="495679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30" name="半闭框 29"/>
              <p:cNvSpPr/>
              <p:nvPr/>
            </p:nvSpPr>
            <p:spPr>
              <a:xfrm rot="18900000">
                <a:off x="1377599" y="212779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半闭框 30"/>
              <p:cNvSpPr/>
              <p:nvPr/>
            </p:nvSpPr>
            <p:spPr>
              <a:xfrm rot="8191478">
                <a:off x="2000920" y="212783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半闭框 31"/>
              <p:cNvSpPr/>
              <p:nvPr/>
            </p:nvSpPr>
            <p:spPr>
              <a:xfrm rot="2702146">
                <a:off x="1694230" y="1936639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半闭框 32"/>
              <p:cNvSpPr/>
              <p:nvPr/>
            </p:nvSpPr>
            <p:spPr>
              <a:xfrm rot="18897854" flipV="1">
                <a:off x="1690382" y="233474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8" name="文本框 27"/>
            <p:cNvSpPr txBox="1"/>
            <p:nvPr/>
          </p:nvSpPr>
          <p:spPr>
            <a:xfrm>
              <a:off x="1726594" y="2034778"/>
              <a:ext cx="502124" cy="406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zh-CN" sz="2000" b="1" dirty="0">
                  <a:gradFill>
                    <a:gsLst>
                      <a:gs pos="10000">
                        <a:schemeClr val="accent2"/>
                      </a:gs>
                      <a:gs pos="64000">
                        <a:schemeClr val="accent1"/>
                      </a:gs>
                    </a:gsLst>
                    <a:lin ang="0" scaled="0"/>
                  </a:gradFill>
                  <a:latin typeface="Arial Black" panose="020B0A04020102020204" pitchFamily="34" charset="0"/>
                  <a:ea typeface="微软雅黑" panose="020B0503020204020204" pitchFamily="34" charset="-122"/>
                </a:rPr>
                <a:t>02</a:t>
              </a:r>
              <a:endParaRPr lang="zh-CN" altLang="en-US" sz="2000" b="1" dirty="0">
                <a:gradFill>
                  <a:gsLst>
                    <a:gs pos="10000">
                      <a:schemeClr val="accent2"/>
                    </a:gs>
                    <a:gs pos="64000">
                      <a:schemeClr val="accent1"/>
                    </a:gs>
                  </a:gsLst>
                  <a:lin ang="0" scaled="0"/>
                </a:gradFill>
                <a:latin typeface="Arial Black" panose="020B0A040201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1367452" y="3826493"/>
            <a:ext cx="666911" cy="473815"/>
            <a:chOff x="1537571" y="1906780"/>
            <a:chExt cx="880172" cy="625329"/>
          </a:xfrm>
        </p:grpSpPr>
        <p:grpSp>
          <p:nvGrpSpPr>
            <p:cNvPr id="35" name="组合 34"/>
            <p:cNvGrpSpPr/>
            <p:nvPr/>
          </p:nvGrpSpPr>
          <p:grpSpPr>
            <a:xfrm>
              <a:off x="1537571" y="1906780"/>
              <a:ext cx="880172" cy="625329"/>
              <a:chOff x="1377599" y="1936639"/>
              <a:chExt cx="777834" cy="552622"/>
            </a:xfrm>
          </p:grpSpPr>
          <p:sp>
            <p:nvSpPr>
              <p:cNvPr id="37" name="矩形 36"/>
              <p:cNvSpPr/>
              <p:nvPr/>
            </p:nvSpPr>
            <p:spPr>
              <a:xfrm rot="2700000">
                <a:off x="1519799" y="1957216"/>
                <a:ext cx="495679" cy="495679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38" name="半闭框 37"/>
              <p:cNvSpPr/>
              <p:nvPr/>
            </p:nvSpPr>
            <p:spPr>
              <a:xfrm rot="18900000">
                <a:off x="1377599" y="212779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半闭框 38"/>
              <p:cNvSpPr/>
              <p:nvPr/>
            </p:nvSpPr>
            <p:spPr>
              <a:xfrm rot="8191478">
                <a:off x="2000920" y="212783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半闭框 39"/>
              <p:cNvSpPr/>
              <p:nvPr/>
            </p:nvSpPr>
            <p:spPr>
              <a:xfrm rot="2702146">
                <a:off x="1694230" y="1936639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半闭框 40"/>
              <p:cNvSpPr/>
              <p:nvPr/>
            </p:nvSpPr>
            <p:spPr>
              <a:xfrm rot="18897854" flipV="1">
                <a:off x="1690382" y="233474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6" name="文本框 35"/>
            <p:cNvSpPr txBox="1"/>
            <p:nvPr/>
          </p:nvSpPr>
          <p:spPr>
            <a:xfrm>
              <a:off x="1726594" y="2034778"/>
              <a:ext cx="502124" cy="406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zh-CN" sz="2000" b="1" dirty="0">
                  <a:gradFill>
                    <a:gsLst>
                      <a:gs pos="10000">
                        <a:schemeClr val="accent2"/>
                      </a:gs>
                      <a:gs pos="64000">
                        <a:schemeClr val="accent1"/>
                      </a:gs>
                    </a:gsLst>
                    <a:lin ang="0" scaled="0"/>
                  </a:gradFill>
                  <a:latin typeface="Arial Black" panose="020B0A04020102020204" pitchFamily="34" charset="0"/>
                  <a:ea typeface="微软雅黑" panose="020B0503020204020204" pitchFamily="34" charset="-122"/>
                </a:rPr>
                <a:t>03</a:t>
              </a:r>
              <a:endParaRPr lang="zh-CN" altLang="en-US" sz="2400" b="1" dirty="0">
                <a:gradFill>
                  <a:gsLst>
                    <a:gs pos="10000">
                      <a:schemeClr val="accent2"/>
                    </a:gs>
                    <a:gs pos="64000">
                      <a:schemeClr val="accent1"/>
                    </a:gs>
                  </a:gsLst>
                  <a:lin ang="0" scaled="0"/>
                </a:gradFill>
                <a:latin typeface="Arial Black" panose="020B0A040201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1367452" y="4733400"/>
            <a:ext cx="666911" cy="473815"/>
            <a:chOff x="1537571" y="1906780"/>
            <a:chExt cx="880172" cy="625329"/>
          </a:xfrm>
        </p:grpSpPr>
        <p:grpSp>
          <p:nvGrpSpPr>
            <p:cNvPr id="43" name="组合 42"/>
            <p:cNvGrpSpPr/>
            <p:nvPr/>
          </p:nvGrpSpPr>
          <p:grpSpPr>
            <a:xfrm>
              <a:off x="1537571" y="1906780"/>
              <a:ext cx="880172" cy="625329"/>
              <a:chOff x="1377599" y="1936639"/>
              <a:chExt cx="777834" cy="552622"/>
            </a:xfrm>
          </p:grpSpPr>
          <p:sp>
            <p:nvSpPr>
              <p:cNvPr id="45" name="矩形 44"/>
              <p:cNvSpPr/>
              <p:nvPr/>
            </p:nvSpPr>
            <p:spPr>
              <a:xfrm rot="2700000">
                <a:off x="1519799" y="1957216"/>
                <a:ext cx="495679" cy="495679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46" name="半闭框 45"/>
              <p:cNvSpPr/>
              <p:nvPr/>
            </p:nvSpPr>
            <p:spPr>
              <a:xfrm rot="18900000">
                <a:off x="1377599" y="212779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半闭框 46"/>
              <p:cNvSpPr/>
              <p:nvPr/>
            </p:nvSpPr>
            <p:spPr>
              <a:xfrm rot="8191478">
                <a:off x="2000920" y="212783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半闭框 47"/>
              <p:cNvSpPr/>
              <p:nvPr/>
            </p:nvSpPr>
            <p:spPr>
              <a:xfrm rot="2702146">
                <a:off x="1694230" y="1936639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半闭框 48"/>
              <p:cNvSpPr/>
              <p:nvPr/>
            </p:nvSpPr>
            <p:spPr>
              <a:xfrm rot="18897854" flipV="1">
                <a:off x="1690382" y="233474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4" name="文本框 43"/>
            <p:cNvSpPr txBox="1"/>
            <p:nvPr/>
          </p:nvSpPr>
          <p:spPr>
            <a:xfrm>
              <a:off x="1726594" y="2034778"/>
              <a:ext cx="502124" cy="406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zh-CN" sz="2000" b="1" dirty="0">
                  <a:gradFill>
                    <a:gsLst>
                      <a:gs pos="10000">
                        <a:schemeClr val="accent2"/>
                      </a:gs>
                      <a:gs pos="64000">
                        <a:schemeClr val="accent1"/>
                      </a:gs>
                    </a:gsLst>
                    <a:lin ang="0" scaled="0"/>
                  </a:gradFill>
                  <a:latin typeface="Arial Black" panose="020B0A04020102020204" pitchFamily="34" charset="0"/>
                  <a:ea typeface="微软雅黑" panose="020B0503020204020204" pitchFamily="34" charset="-122"/>
                </a:rPr>
                <a:t>04</a:t>
              </a:r>
              <a:endParaRPr lang="zh-CN" altLang="en-US" sz="2000" b="1" dirty="0">
                <a:gradFill>
                  <a:gsLst>
                    <a:gs pos="10000">
                      <a:schemeClr val="accent2"/>
                    </a:gs>
                    <a:gs pos="64000">
                      <a:schemeClr val="accent1"/>
                    </a:gs>
                  </a:gsLst>
                  <a:lin ang="0" scaled="0"/>
                </a:gradFill>
                <a:latin typeface="Arial Black" panose="020B0A040201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1367452" y="5640308"/>
            <a:ext cx="666911" cy="473815"/>
            <a:chOff x="1537571" y="1906780"/>
            <a:chExt cx="880172" cy="625329"/>
          </a:xfrm>
        </p:grpSpPr>
        <p:grpSp>
          <p:nvGrpSpPr>
            <p:cNvPr id="51" name="组合 50"/>
            <p:cNvGrpSpPr/>
            <p:nvPr/>
          </p:nvGrpSpPr>
          <p:grpSpPr>
            <a:xfrm>
              <a:off x="1537571" y="1906780"/>
              <a:ext cx="880172" cy="625329"/>
              <a:chOff x="1377599" y="1936639"/>
              <a:chExt cx="777834" cy="552622"/>
            </a:xfrm>
          </p:grpSpPr>
          <p:sp>
            <p:nvSpPr>
              <p:cNvPr id="53" name="矩形 52"/>
              <p:cNvSpPr/>
              <p:nvPr/>
            </p:nvSpPr>
            <p:spPr>
              <a:xfrm rot="2700000">
                <a:off x="1519799" y="1957216"/>
                <a:ext cx="495679" cy="495679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54" name="半闭框 53"/>
              <p:cNvSpPr/>
              <p:nvPr/>
            </p:nvSpPr>
            <p:spPr>
              <a:xfrm rot="18900000">
                <a:off x="1377599" y="212779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半闭框 54"/>
              <p:cNvSpPr/>
              <p:nvPr/>
            </p:nvSpPr>
            <p:spPr>
              <a:xfrm rot="8191478">
                <a:off x="2000920" y="212783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半闭框 55"/>
              <p:cNvSpPr/>
              <p:nvPr/>
            </p:nvSpPr>
            <p:spPr>
              <a:xfrm rot="2702146">
                <a:off x="1694230" y="1936639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半闭框 56"/>
              <p:cNvSpPr/>
              <p:nvPr/>
            </p:nvSpPr>
            <p:spPr>
              <a:xfrm rot="18897854" flipV="1">
                <a:off x="1690382" y="2334748"/>
                <a:ext cx="154513" cy="154513"/>
              </a:xfrm>
              <a:prstGeom prst="halfFrame">
                <a:avLst>
                  <a:gd name="adj1" fmla="val 17603"/>
                  <a:gd name="adj2" fmla="val 16479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2" name="文本框 51"/>
            <p:cNvSpPr txBox="1"/>
            <p:nvPr/>
          </p:nvSpPr>
          <p:spPr>
            <a:xfrm>
              <a:off x="1726594" y="2034778"/>
              <a:ext cx="502124" cy="406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zh-CN" sz="2000" b="1" dirty="0">
                  <a:gradFill>
                    <a:gsLst>
                      <a:gs pos="10000">
                        <a:schemeClr val="accent2"/>
                      </a:gs>
                      <a:gs pos="64000">
                        <a:schemeClr val="accent1"/>
                      </a:gs>
                    </a:gsLst>
                    <a:lin ang="0" scaled="0"/>
                  </a:gradFill>
                  <a:latin typeface="Arial Black" panose="020B0A04020102020204" pitchFamily="34" charset="0"/>
                  <a:ea typeface="微软雅黑" panose="020B0503020204020204" pitchFamily="34" charset="-122"/>
                </a:rPr>
                <a:t>05</a:t>
              </a:r>
              <a:endParaRPr lang="zh-CN" altLang="en-US" sz="2000" b="1" dirty="0">
                <a:gradFill>
                  <a:gsLst>
                    <a:gs pos="10000">
                      <a:schemeClr val="accent2"/>
                    </a:gs>
                    <a:gs pos="64000">
                      <a:schemeClr val="accent1"/>
                    </a:gs>
                  </a:gsLst>
                  <a:lin ang="0" scaled="0"/>
                </a:gradFill>
                <a:latin typeface="Arial Black" panose="020B0A04020102020204" pitchFamily="34" charset="0"/>
                <a:ea typeface="微软雅黑" panose="020B0503020204020204" pitchFamily="34" charset="-122"/>
              </a:endParaRPr>
            </a:p>
          </p:txBody>
        </p:sp>
      </p:grpSp>
      <p:sp>
        <p:nvSpPr>
          <p:cNvPr id="58" name="矩形 57"/>
          <p:cNvSpPr/>
          <p:nvPr/>
        </p:nvSpPr>
        <p:spPr>
          <a:xfrm rot="2700000">
            <a:off x="-2194046" y="-379524"/>
            <a:ext cx="2578896" cy="257889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文本占位符 59"/>
          <p:cNvSpPr>
            <a:spLocks noGrp="1"/>
          </p:cNvSpPr>
          <p:nvPr>
            <p:ph type="body" sz="quarter" idx="13"/>
          </p:nvPr>
        </p:nvSpPr>
        <p:spPr>
          <a:xfrm>
            <a:off x="2494124" y="4732316"/>
            <a:ext cx="4727075" cy="4928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zh-CN" altLang="en-US" sz="2400" b="1" kern="1200" spc="400" dirty="0">
                <a:solidFill>
                  <a:prstClr val="white"/>
                </a:solidFill>
                <a:latin typeface="+mj-ea"/>
                <a:ea typeface="+mj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61" name="文本占位符 60"/>
          <p:cNvSpPr>
            <a:spLocks noGrp="1"/>
          </p:cNvSpPr>
          <p:nvPr>
            <p:ph type="body" sz="quarter" idx="14"/>
          </p:nvPr>
        </p:nvSpPr>
        <p:spPr>
          <a:xfrm>
            <a:off x="2484783" y="2011595"/>
            <a:ext cx="4727075" cy="4928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zh-CN" altLang="en-US" sz="2400" b="1" kern="1200" spc="4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62" name="文本占位符 61"/>
          <p:cNvSpPr>
            <a:spLocks noGrp="1"/>
          </p:cNvSpPr>
          <p:nvPr>
            <p:ph type="body" sz="quarter" idx="15" hasCustomPrompt="1"/>
          </p:nvPr>
        </p:nvSpPr>
        <p:spPr>
          <a:xfrm>
            <a:off x="2494124" y="3825409"/>
            <a:ext cx="5517591" cy="4928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zh-CN" altLang="en-US" sz="2400" b="1" kern="1200" spc="400" dirty="0">
                <a:solidFill>
                  <a:prstClr val="white"/>
                </a:solidFill>
                <a:latin typeface="+mj-ea"/>
                <a:ea typeface="+mj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辑母版文本样式</a:t>
            </a:r>
          </a:p>
        </p:txBody>
      </p:sp>
      <p:sp>
        <p:nvSpPr>
          <p:cNvPr id="74" name="图片占位符 73"/>
          <p:cNvSpPr>
            <a:spLocks noGrp="1"/>
          </p:cNvSpPr>
          <p:nvPr>
            <p:ph type="pic" sz="quarter" idx="19"/>
          </p:nvPr>
        </p:nvSpPr>
        <p:spPr>
          <a:xfrm>
            <a:off x="5983230" y="-138109"/>
            <a:ext cx="10758309" cy="7134219"/>
          </a:xfrm>
          <a:custGeom>
            <a:avLst/>
            <a:gdLst>
              <a:gd name="connsiteX0" fmla="*/ 1710421 w 10758309"/>
              <a:gd name="connsiteY0" fmla="*/ 0 h 6849838"/>
              <a:gd name="connsiteX1" fmla="*/ 9047888 w 10758309"/>
              <a:gd name="connsiteY1" fmla="*/ 0 h 6849838"/>
              <a:gd name="connsiteX2" fmla="*/ 10758309 w 10758309"/>
              <a:gd name="connsiteY2" fmla="*/ 3420840 h 6849838"/>
              <a:gd name="connsiteX3" fmla="*/ 9043809 w 10758309"/>
              <a:gd name="connsiteY3" fmla="*/ 6849838 h 6849838"/>
              <a:gd name="connsiteX4" fmla="*/ 1714500 w 10758309"/>
              <a:gd name="connsiteY4" fmla="*/ 6849838 h 6849838"/>
              <a:gd name="connsiteX5" fmla="*/ 0 w 10758309"/>
              <a:gd name="connsiteY5" fmla="*/ 3420840 h 6849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8309" h="6849838">
                <a:moveTo>
                  <a:pt x="1710421" y="0"/>
                </a:moveTo>
                <a:lnTo>
                  <a:pt x="9047888" y="0"/>
                </a:lnTo>
                <a:lnTo>
                  <a:pt x="10758309" y="3420840"/>
                </a:lnTo>
                <a:lnTo>
                  <a:pt x="9043809" y="6849838"/>
                </a:lnTo>
                <a:lnTo>
                  <a:pt x="1714500" y="6849838"/>
                </a:lnTo>
                <a:lnTo>
                  <a:pt x="0" y="342084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zh-CN" altLang="en-US" dirty="0"/>
              <a:t>单击图标添加图片</a:t>
            </a:r>
          </a:p>
        </p:txBody>
      </p:sp>
      <p:sp>
        <p:nvSpPr>
          <p:cNvPr id="63" name="文本占位符 62"/>
          <p:cNvSpPr>
            <a:spLocks noGrp="1"/>
          </p:cNvSpPr>
          <p:nvPr>
            <p:ph type="body" sz="quarter" idx="16"/>
          </p:nvPr>
        </p:nvSpPr>
        <p:spPr>
          <a:xfrm>
            <a:off x="2513221" y="5639224"/>
            <a:ext cx="4679484" cy="4928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zh-CN" altLang="en-US" sz="2400" b="1" kern="1200" spc="400" dirty="0" smtClean="0">
                <a:solidFill>
                  <a:prstClr val="white"/>
                </a:solidFill>
                <a:latin typeface="+mj-ea"/>
                <a:ea typeface="+mj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69" name="文本占位符 68"/>
          <p:cNvSpPr>
            <a:spLocks noGrp="1"/>
          </p:cNvSpPr>
          <p:nvPr>
            <p:ph type="body" sz="quarter" idx="18"/>
          </p:nvPr>
        </p:nvSpPr>
        <p:spPr>
          <a:xfrm>
            <a:off x="2485113" y="2934763"/>
            <a:ext cx="4786312" cy="5857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zh-CN" altLang="en-US" sz="2400" b="1" kern="1200" spc="400" dirty="0" smtClean="0">
                <a:solidFill>
                  <a:prstClr val="white"/>
                </a:solidFill>
                <a:latin typeface="+mj-ea"/>
                <a:ea typeface="+mj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CE587-EB86-4A58-A58F-0E7694703301}" type="datetimeFigureOut">
              <a:rPr lang="zh-CN" altLang="en-US" smtClean="0"/>
              <a:t>2024/4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76A454-49BE-4977-A269-B2373FFAAC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7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29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122953" y="1492428"/>
            <a:ext cx="6232668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1500" b="0" i="0" u="none" strike="noStrike" kern="1200" cap="none" spc="6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mercialScript BT" panose="03030803040807090C04" pitchFamily="66" charset="0"/>
                <a:ea typeface="思源宋体 CN Heavy" panose="02020900000000000000" pitchFamily="18" charset="-122"/>
                <a:cs typeface="+mn-cs"/>
              </a:rPr>
              <a:t>Harmony</a:t>
            </a:r>
            <a:endParaRPr kumimoji="0" lang="zh-CN" altLang="en-US" sz="11500" b="0" i="0" u="none" strike="noStrike" kern="1200" cap="none" spc="6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ommercialScript BT" panose="03030803040807090C04" pitchFamily="66" charset="0"/>
              <a:ea typeface="思源宋体 CN Heavy" panose="02020900000000000000" pitchFamily="18" charset="-122"/>
              <a:cs typeface="+mn-cs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222534" y="3390687"/>
            <a:ext cx="3279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of society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libaba Sans" panose="020B0503020203040204" pitchFamily="34" charset="0"/>
              <a:ea typeface="等线" panose="02010600030101010101" charset="-122"/>
              <a:cs typeface="Alibaba Sans" panose="020B0503020203040204" pitchFamily="34" charset="0"/>
            </a:endParaRPr>
          </a:p>
        </p:txBody>
      </p:sp>
      <p:cxnSp>
        <p:nvCxnSpPr>
          <p:cNvPr id="21" name="直接连接符 20"/>
          <p:cNvCxnSpPr/>
          <p:nvPr/>
        </p:nvCxnSpPr>
        <p:spPr>
          <a:xfrm flipV="1">
            <a:off x="1986800" y="4144012"/>
            <a:ext cx="751769" cy="458828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9912235" y="1144062"/>
            <a:ext cx="590019" cy="360107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 flipV="1">
            <a:off x="9897259" y="1801990"/>
            <a:ext cx="205441" cy="125388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 flipV="1">
            <a:off x="2793026" y="4235216"/>
            <a:ext cx="329927" cy="201366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 flipH="1">
            <a:off x="2957990" y="4007385"/>
            <a:ext cx="6990" cy="4266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10269636" y="1703503"/>
            <a:ext cx="0" cy="0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100A59AE-4C86-F4F6-B126-1D6B61BE5DB2}"/>
              </a:ext>
            </a:extLst>
          </p:cNvPr>
          <p:cNvSpPr txBox="1"/>
          <p:nvPr/>
        </p:nvSpPr>
        <p:spPr>
          <a:xfrm>
            <a:off x="120949" y="5317322"/>
            <a:ext cx="68527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Presenter:	</a:t>
            </a:r>
            <a:r>
              <a:rPr lang="zh-CN" altLang="en-US" sz="2400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胡博浩，姜鑫，黄飞越，柯友彬</a:t>
            </a:r>
            <a:endParaRPr lang="zh-CN" altLang="en-US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任意多边形: 形状 47"/>
          <p:cNvSpPr/>
          <p:nvPr/>
        </p:nvSpPr>
        <p:spPr>
          <a:xfrm rot="2589703">
            <a:off x="-6668383" y="-1664650"/>
            <a:ext cx="10440000" cy="10440000"/>
          </a:xfrm>
          <a:custGeom>
            <a:avLst/>
            <a:gdLst>
              <a:gd name="connsiteX0" fmla="*/ 5916343 w 7904349"/>
              <a:gd name="connsiteY0" fmla="*/ 4189628 h 7904592"/>
              <a:gd name="connsiteX1" fmla="*/ 7904349 w 7904349"/>
              <a:gd name="connsiteY1" fmla="*/ 4189628 h 7904592"/>
              <a:gd name="connsiteX2" fmla="*/ 7894186 w 7904349"/>
              <a:gd name="connsiteY2" fmla="*/ 4332200 h 7904592"/>
              <a:gd name="connsiteX3" fmla="*/ 4357061 w 7904349"/>
              <a:gd name="connsiteY3" fmla="*/ 7891851 h 7904592"/>
              <a:gd name="connsiteX4" fmla="*/ 4189506 w 7904349"/>
              <a:gd name="connsiteY4" fmla="*/ 7904592 h 7904592"/>
              <a:gd name="connsiteX5" fmla="*/ 4189506 w 7904349"/>
              <a:gd name="connsiteY5" fmla="*/ 5916749 h 7904592"/>
              <a:gd name="connsiteX6" fmla="*/ 4351213 w 7904349"/>
              <a:gd name="connsiteY6" fmla="*/ 5892070 h 7904592"/>
              <a:gd name="connsiteX7" fmla="*/ 5901249 w 7904349"/>
              <a:gd name="connsiteY7" fmla="*/ 4302789 h 7904592"/>
              <a:gd name="connsiteX8" fmla="*/ 0 w 7904349"/>
              <a:gd name="connsiteY8" fmla="*/ 4189628 h 7904592"/>
              <a:gd name="connsiteX9" fmla="*/ 1988006 w 7904349"/>
              <a:gd name="connsiteY9" fmla="*/ 4189628 h 7904592"/>
              <a:gd name="connsiteX10" fmla="*/ 2003100 w 7904349"/>
              <a:gd name="connsiteY10" fmla="*/ 4302789 h 7904592"/>
              <a:gd name="connsiteX11" fmla="*/ 3553135 w 7904349"/>
              <a:gd name="connsiteY11" fmla="*/ 5892070 h 7904592"/>
              <a:gd name="connsiteX12" fmla="*/ 3714842 w 7904349"/>
              <a:gd name="connsiteY12" fmla="*/ 5916749 h 7904592"/>
              <a:gd name="connsiteX13" fmla="*/ 3714842 w 7904349"/>
              <a:gd name="connsiteY13" fmla="*/ 7904592 h 7904592"/>
              <a:gd name="connsiteX14" fmla="*/ 3547287 w 7904349"/>
              <a:gd name="connsiteY14" fmla="*/ 7891851 h 7904592"/>
              <a:gd name="connsiteX15" fmla="*/ 10162 w 7904349"/>
              <a:gd name="connsiteY15" fmla="*/ 4332200 h 7904592"/>
              <a:gd name="connsiteX16" fmla="*/ 4189506 w 7904349"/>
              <a:gd name="connsiteY16" fmla="*/ 0 h 7904592"/>
              <a:gd name="connsiteX17" fmla="*/ 4357061 w 7904349"/>
              <a:gd name="connsiteY17" fmla="*/ 12741 h 7904592"/>
              <a:gd name="connsiteX18" fmla="*/ 7894186 w 7904349"/>
              <a:gd name="connsiteY18" fmla="*/ 3572393 h 7904592"/>
              <a:gd name="connsiteX19" fmla="*/ 7904349 w 7904349"/>
              <a:gd name="connsiteY19" fmla="*/ 3714964 h 7904592"/>
              <a:gd name="connsiteX20" fmla="*/ 5916343 w 7904349"/>
              <a:gd name="connsiteY20" fmla="*/ 3714964 h 7904592"/>
              <a:gd name="connsiteX21" fmla="*/ 5901249 w 7904349"/>
              <a:gd name="connsiteY21" fmla="*/ 3601803 h 7904592"/>
              <a:gd name="connsiteX22" fmla="*/ 4351213 w 7904349"/>
              <a:gd name="connsiteY22" fmla="*/ 2012523 h 7904592"/>
              <a:gd name="connsiteX23" fmla="*/ 4189506 w 7904349"/>
              <a:gd name="connsiteY23" fmla="*/ 1987843 h 7904592"/>
              <a:gd name="connsiteX24" fmla="*/ 3714842 w 7904349"/>
              <a:gd name="connsiteY24" fmla="*/ 0 h 7904592"/>
              <a:gd name="connsiteX25" fmla="*/ 3714842 w 7904349"/>
              <a:gd name="connsiteY25" fmla="*/ 1987843 h 7904592"/>
              <a:gd name="connsiteX26" fmla="*/ 3553135 w 7904349"/>
              <a:gd name="connsiteY26" fmla="*/ 2012523 h 7904592"/>
              <a:gd name="connsiteX27" fmla="*/ 2003100 w 7904349"/>
              <a:gd name="connsiteY27" fmla="*/ 3601803 h 7904592"/>
              <a:gd name="connsiteX28" fmla="*/ 1988006 w 7904349"/>
              <a:gd name="connsiteY28" fmla="*/ 3714964 h 7904592"/>
              <a:gd name="connsiteX29" fmla="*/ 0 w 7904349"/>
              <a:gd name="connsiteY29" fmla="*/ 3714964 h 7904592"/>
              <a:gd name="connsiteX30" fmla="*/ 10162 w 7904349"/>
              <a:gd name="connsiteY30" fmla="*/ 3572393 h 7904592"/>
              <a:gd name="connsiteX31" fmla="*/ 3547287 w 7904349"/>
              <a:gd name="connsiteY31" fmla="*/ 12741 h 790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904349" h="7904592">
                <a:moveTo>
                  <a:pt x="5916343" y="4189628"/>
                </a:moveTo>
                <a:lnTo>
                  <a:pt x="7904349" y="4189628"/>
                </a:lnTo>
                <a:lnTo>
                  <a:pt x="7894186" y="4332200"/>
                </a:lnTo>
                <a:cubicBezTo>
                  <a:pt x="7715678" y="6207659"/>
                  <a:pt x="6229112" y="7701734"/>
                  <a:pt x="4357061" y="7891851"/>
                </a:cubicBezTo>
                <a:lnTo>
                  <a:pt x="4189506" y="7904592"/>
                </a:lnTo>
                <a:lnTo>
                  <a:pt x="4189506" y="5916749"/>
                </a:lnTo>
                <a:lnTo>
                  <a:pt x="4351213" y="5892070"/>
                </a:lnTo>
                <a:cubicBezTo>
                  <a:pt x="5140685" y="5730521"/>
                  <a:pt x="5759004" y="5099119"/>
                  <a:pt x="5901249" y="4302789"/>
                </a:cubicBezTo>
                <a:close/>
                <a:moveTo>
                  <a:pt x="0" y="4189628"/>
                </a:moveTo>
                <a:lnTo>
                  <a:pt x="1988006" y="4189628"/>
                </a:lnTo>
                <a:lnTo>
                  <a:pt x="2003100" y="4302789"/>
                </a:lnTo>
                <a:cubicBezTo>
                  <a:pt x="2145344" y="5099119"/>
                  <a:pt x="2763664" y="5730521"/>
                  <a:pt x="3553135" y="5892070"/>
                </a:cubicBezTo>
                <a:lnTo>
                  <a:pt x="3714842" y="5916749"/>
                </a:lnTo>
                <a:lnTo>
                  <a:pt x="3714842" y="7904592"/>
                </a:lnTo>
                <a:lnTo>
                  <a:pt x="3547287" y="7891851"/>
                </a:lnTo>
                <a:cubicBezTo>
                  <a:pt x="1675236" y="7701734"/>
                  <a:pt x="188670" y="6207659"/>
                  <a:pt x="10162" y="4332200"/>
                </a:cubicBezTo>
                <a:close/>
                <a:moveTo>
                  <a:pt x="4189506" y="0"/>
                </a:moveTo>
                <a:lnTo>
                  <a:pt x="4357061" y="12741"/>
                </a:lnTo>
                <a:cubicBezTo>
                  <a:pt x="6229112" y="202858"/>
                  <a:pt x="7715678" y="1696933"/>
                  <a:pt x="7894186" y="3572393"/>
                </a:cubicBezTo>
                <a:lnTo>
                  <a:pt x="7904349" y="3714964"/>
                </a:lnTo>
                <a:lnTo>
                  <a:pt x="5916343" y="3714964"/>
                </a:lnTo>
                <a:lnTo>
                  <a:pt x="5901249" y="3601803"/>
                </a:lnTo>
                <a:cubicBezTo>
                  <a:pt x="5759004" y="2805473"/>
                  <a:pt x="5140685" y="2174072"/>
                  <a:pt x="4351213" y="2012523"/>
                </a:cubicBezTo>
                <a:lnTo>
                  <a:pt x="4189506" y="1987843"/>
                </a:lnTo>
                <a:close/>
                <a:moveTo>
                  <a:pt x="3714842" y="0"/>
                </a:moveTo>
                <a:lnTo>
                  <a:pt x="3714842" y="1987843"/>
                </a:lnTo>
                <a:lnTo>
                  <a:pt x="3553135" y="2012523"/>
                </a:lnTo>
                <a:cubicBezTo>
                  <a:pt x="2763664" y="2174072"/>
                  <a:pt x="2145344" y="2805473"/>
                  <a:pt x="2003100" y="3601803"/>
                </a:cubicBezTo>
                <a:lnTo>
                  <a:pt x="1988006" y="3714964"/>
                </a:lnTo>
                <a:lnTo>
                  <a:pt x="0" y="3714964"/>
                </a:lnTo>
                <a:lnTo>
                  <a:pt x="10162" y="3572393"/>
                </a:lnTo>
                <a:cubicBezTo>
                  <a:pt x="188670" y="1696933"/>
                  <a:pt x="1675236" y="202858"/>
                  <a:pt x="3547287" y="12741"/>
                </a:cubicBezTo>
                <a:close/>
              </a:path>
            </a:pathLst>
          </a:custGeom>
          <a:ln>
            <a:noFill/>
          </a:ln>
          <a:effectLst>
            <a:outerShdw blurRad="546100" sx="102000" sy="102000" algn="ctr" rotWithShape="0">
              <a:prstClr val="black">
                <a:alpha val="67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5275253" y="7658023"/>
            <a:ext cx="69215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1" u="none" strike="noStrike" kern="1200" cap="none" spc="60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Economic Development and Poverty Alleviation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3874419" y="9522405"/>
            <a:ext cx="7995553" cy="1815882"/>
          </a:xfrm>
          <a:prstGeom prst="rect">
            <a:avLst/>
          </a:prstGeom>
          <a:solidFill>
            <a:schemeClr val="bg1">
              <a:alpha val="39000"/>
            </a:scheme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softEdge rad="165100"/>
          </a:effectLst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Improvement in living standards 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Strengthening social stability and cohesion 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Addressing imbalanced urban-rural development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…  … ○</a:t>
            </a:r>
          </a:p>
        </p:txBody>
      </p:sp>
      <p:sp>
        <p:nvSpPr>
          <p:cNvPr id="61" name="矩形 60"/>
          <p:cNvSpPr/>
          <p:nvPr/>
        </p:nvSpPr>
        <p:spPr>
          <a:xfrm>
            <a:off x="3292577" y="379344"/>
            <a:ext cx="9159239" cy="5964305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3853016" y="615279"/>
            <a:ext cx="82610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Economic Development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Poverty Alleviation</a:t>
            </a:r>
          </a:p>
        </p:txBody>
      </p:sp>
      <p:sp>
        <p:nvSpPr>
          <p:cNvPr id="63" name="矩形 62"/>
          <p:cNvSpPr/>
          <p:nvPr/>
        </p:nvSpPr>
        <p:spPr>
          <a:xfrm>
            <a:off x="3853016" y="2125846"/>
            <a:ext cx="7351867" cy="3007618"/>
          </a:xfrm>
          <a:prstGeom prst="rect">
            <a:avLst/>
          </a:prstGeom>
          <a:solidFill>
            <a:schemeClr val="bg1">
              <a:alpha val="39000"/>
            </a:schemeClr>
          </a:solidFill>
          <a:effectLst>
            <a:softEdge rad="533400"/>
          </a:effectLst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According to official data, China has achieved comprehensive poverty eradication by 2020, marking a historic milestone that significantly improved the living standards of millions of people. 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alpha val="70000"/>
                </a:schemeClr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  <p:grpSp>
        <p:nvGrpSpPr>
          <p:cNvPr id="64" name="组合 63"/>
          <p:cNvGrpSpPr/>
          <p:nvPr/>
        </p:nvGrpSpPr>
        <p:grpSpPr>
          <a:xfrm>
            <a:off x="11538790" y="4825365"/>
            <a:ext cx="579120" cy="579120"/>
            <a:chOff x="6438900" y="838200"/>
            <a:chExt cx="914400" cy="914400"/>
          </a:xfrm>
        </p:grpSpPr>
        <p:sp>
          <p:nvSpPr>
            <p:cNvPr id="65" name="矩形 64"/>
            <p:cNvSpPr/>
            <p:nvPr/>
          </p:nvSpPr>
          <p:spPr>
            <a:xfrm>
              <a:off x="6438900" y="838200"/>
              <a:ext cx="914400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66" name="直接箭头连接符 65"/>
            <p:cNvCxnSpPr/>
            <p:nvPr/>
          </p:nvCxnSpPr>
          <p:spPr>
            <a:xfrm>
              <a:off x="6650355" y="1297305"/>
              <a:ext cx="489585" cy="0"/>
            </a:xfrm>
            <a:prstGeom prst="straightConnector1">
              <a:avLst/>
            </a:prstGeom>
            <a:ln w="25400" cap="rnd">
              <a:solidFill>
                <a:srgbClr val="D89687"/>
              </a:solidFill>
              <a:round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文本框 66"/>
          <p:cNvSpPr txBox="1"/>
          <p:nvPr/>
        </p:nvSpPr>
        <p:spPr>
          <a:xfrm>
            <a:off x="3522012" y="-6121716"/>
            <a:ext cx="83057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Improvement in Social Governance</a:t>
            </a:r>
          </a:p>
        </p:txBody>
      </p:sp>
      <p:sp>
        <p:nvSpPr>
          <p:cNvPr id="68" name="矩形 67"/>
          <p:cNvSpPr/>
          <p:nvPr/>
        </p:nvSpPr>
        <p:spPr>
          <a:xfrm>
            <a:off x="3522012" y="-4976433"/>
            <a:ext cx="8034454" cy="2408736"/>
          </a:xfrm>
          <a:prstGeom prst="rect">
            <a:avLst/>
          </a:prstGeom>
          <a:solidFill>
            <a:schemeClr val="bg1">
              <a:alpha val="40000"/>
            </a:schemeClr>
          </a:solidFill>
          <a:effectLst>
            <a:softEdge rad="342900"/>
          </a:effectLst>
        </p:spPr>
        <p:txBody>
          <a:bodyPr vert="horz"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Implementation of policies and measures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kumimoji="0" lang="en-US" altLang="zh-CN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Establishment of a sound legal system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kumimoji="0" lang="en-US" altLang="zh-CN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Enhancing grassroots governance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and community construction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○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6000" r="-1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任意多边形: 形状 11"/>
          <p:cNvSpPr/>
          <p:nvPr/>
        </p:nvSpPr>
        <p:spPr>
          <a:xfrm rot="8023510">
            <a:off x="-6668383" y="-1664650"/>
            <a:ext cx="10440000" cy="10440000"/>
          </a:xfrm>
          <a:custGeom>
            <a:avLst/>
            <a:gdLst>
              <a:gd name="connsiteX0" fmla="*/ 5916343 w 7904349"/>
              <a:gd name="connsiteY0" fmla="*/ 4189628 h 7904592"/>
              <a:gd name="connsiteX1" fmla="*/ 7904349 w 7904349"/>
              <a:gd name="connsiteY1" fmla="*/ 4189628 h 7904592"/>
              <a:gd name="connsiteX2" fmla="*/ 7894186 w 7904349"/>
              <a:gd name="connsiteY2" fmla="*/ 4332200 h 7904592"/>
              <a:gd name="connsiteX3" fmla="*/ 4357061 w 7904349"/>
              <a:gd name="connsiteY3" fmla="*/ 7891851 h 7904592"/>
              <a:gd name="connsiteX4" fmla="*/ 4189506 w 7904349"/>
              <a:gd name="connsiteY4" fmla="*/ 7904592 h 7904592"/>
              <a:gd name="connsiteX5" fmla="*/ 4189506 w 7904349"/>
              <a:gd name="connsiteY5" fmla="*/ 5916749 h 7904592"/>
              <a:gd name="connsiteX6" fmla="*/ 4351213 w 7904349"/>
              <a:gd name="connsiteY6" fmla="*/ 5892070 h 7904592"/>
              <a:gd name="connsiteX7" fmla="*/ 5901249 w 7904349"/>
              <a:gd name="connsiteY7" fmla="*/ 4302789 h 7904592"/>
              <a:gd name="connsiteX8" fmla="*/ 0 w 7904349"/>
              <a:gd name="connsiteY8" fmla="*/ 4189628 h 7904592"/>
              <a:gd name="connsiteX9" fmla="*/ 1988006 w 7904349"/>
              <a:gd name="connsiteY9" fmla="*/ 4189628 h 7904592"/>
              <a:gd name="connsiteX10" fmla="*/ 2003100 w 7904349"/>
              <a:gd name="connsiteY10" fmla="*/ 4302789 h 7904592"/>
              <a:gd name="connsiteX11" fmla="*/ 3553135 w 7904349"/>
              <a:gd name="connsiteY11" fmla="*/ 5892070 h 7904592"/>
              <a:gd name="connsiteX12" fmla="*/ 3714842 w 7904349"/>
              <a:gd name="connsiteY12" fmla="*/ 5916749 h 7904592"/>
              <a:gd name="connsiteX13" fmla="*/ 3714842 w 7904349"/>
              <a:gd name="connsiteY13" fmla="*/ 7904592 h 7904592"/>
              <a:gd name="connsiteX14" fmla="*/ 3547287 w 7904349"/>
              <a:gd name="connsiteY14" fmla="*/ 7891851 h 7904592"/>
              <a:gd name="connsiteX15" fmla="*/ 10162 w 7904349"/>
              <a:gd name="connsiteY15" fmla="*/ 4332200 h 7904592"/>
              <a:gd name="connsiteX16" fmla="*/ 4189506 w 7904349"/>
              <a:gd name="connsiteY16" fmla="*/ 0 h 7904592"/>
              <a:gd name="connsiteX17" fmla="*/ 4357061 w 7904349"/>
              <a:gd name="connsiteY17" fmla="*/ 12741 h 7904592"/>
              <a:gd name="connsiteX18" fmla="*/ 7894186 w 7904349"/>
              <a:gd name="connsiteY18" fmla="*/ 3572393 h 7904592"/>
              <a:gd name="connsiteX19" fmla="*/ 7904349 w 7904349"/>
              <a:gd name="connsiteY19" fmla="*/ 3714964 h 7904592"/>
              <a:gd name="connsiteX20" fmla="*/ 5916343 w 7904349"/>
              <a:gd name="connsiteY20" fmla="*/ 3714964 h 7904592"/>
              <a:gd name="connsiteX21" fmla="*/ 5901249 w 7904349"/>
              <a:gd name="connsiteY21" fmla="*/ 3601803 h 7904592"/>
              <a:gd name="connsiteX22" fmla="*/ 4351213 w 7904349"/>
              <a:gd name="connsiteY22" fmla="*/ 2012523 h 7904592"/>
              <a:gd name="connsiteX23" fmla="*/ 4189506 w 7904349"/>
              <a:gd name="connsiteY23" fmla="*/ 1987843 h 7904592"/>
              <a:gd name="connsiteX24" fmla="*/ 3714842 w 7904349"/>
              <a:gd name="connsiteY24" fmla="*/ 0 h 7904592"/>
              <a:gd name="connsiteX25" fmla="*/ 3714842 w 7904349"/>
              <a:gd name="connsiteY25" fmla="*/ 1987843 h 7904592"/>
              <a:gd name="connsiteX26" fmla="*/ 3553135 w 7904349"/>
              <a:gd name="connsiteY26" fmla="*/ 2012523 h 7904592"/>
              <a:gd name="connsiteX27" fmla="*/ 2003100 w 7904349"/>
              <a:gd name="connsiteY27" fmla="*/ 3601803 h 7904592"/>
              <a:gd name="connsiteX28" fmla="*/ 1988006 w 7904349"/>
              <a:gd name="connsiteY28" fmla="*/ 3714964 h 7904592"/>
              <a:gd name="connsiteX29" fmla="*/ 0 w 7904349"/>
              <a:gd name="connsiteY29" fmla="*/ 3714964 h 7904592"/>
              <a:gd name="connsiteX30" fmla="*/ 10162 w 7904349"/>
              <a:gd name="connsiteY30" fmla="*/ 3572393 h 7904592"/>
              <a:gd name="connsiteX31" fmla="*/ 3547287 w 7904349"/>
              <a:gd name="connsiteY31" fmla="*/ 12741 h 790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904349" h="7904592">
                <a:moveTo>
                  <a:pt x="5916343" y="4189628"/>
                </a:moveTo>
                <a:lnTo>
                  <a:pt x="7904349" y="4189628"/>
                </a:lnTo>
                <a:lnTo>
                  <a:pt x="7894186" y="4332200"/>
                </a:lnTo>
                <a:cubicBezTo>
                  <a:pt x="7715678" y="6207659"/>
                  <a:pt x="6229112" y="7701734"/>
                  <a:pt x="4357061" y="7891851"/>
                </a:cubicBezTo>
                <a:lnTo>
                  <a:pt x="4189506" y="7904592"/>
                </a:lnTo>
                <a:lnTo>
                  <a:pt x="4189506" y="5916749"/>
                </a:lnTo>
                <a:lnTo>
                  <a:pt x="4351213" y="5892070"/>
                </a:lnTo>
                <a:cubicBezTo>
                  <a:pt x="5140685" y="5730521"/>
                  <a:pt x="5759004" y="5099119"/>
                  <a:pt x="5901249" y="4302789"/>
                </a:cubicBezTo>
                <a:close/>
                <a:moveTo>
                  <a:pt x="0" y="4189628"/>
                </a:moveTo>
                <a:lnTo>
                  <a:pt x="1988006" y="4189628"/>
                </a:lnTo>
                <a:lnTo>
                  <a:pt x="2003100" y="4302789"/>
                </a:lnTo>
                <a:cubicBezTo>
                  <a:pt x="2145344" y="5099119"/>
                  <a:pt x="2763664" y="5730521"/>
                  <a:pt x="3553135" y="5892070"/>
                </a:cubicBezTo>
                <a:lnTo>
                  <a:pt x="3714842" y="5916749"/>
                </a:lnTo>
                <a:lnTo>
                  <a:pt x="3714842" y="7904592"/>
                </a:lnTo>
                <a:lnTo>
                  <a:pt x="3547287" y="7891851"/>
                </a:lnTo>
                <a:cubicBezTo>
                  <a:pt x="1675236" y="7701734"/>
                  <a:pt x="188670" y="6207659"/>
                  <a:pt x="10162" y="4332200"/>
                </a:cubicBezTo>
                <a:close/>
                <a:moveTo>
                  <a:pt x="4189506" y="0"/>
                </a:moveTo>
                <a:lnTo>
                  <a:pt x="4357061" y="12741"/>
                </a:lnTo>
                <a:cubicBezTo>
                  <a:pt x="6229112" y="202858"/>
                  <a:pt x="7715678" y="1696933"/>
                  <a:pt x="7894186" y="3572393"/>
                </a:cubicBezTo>
                <a:lnTo>
                  <a:pt x="7904349" y="3714964"/>
                </a:lnTo>
                <a:lnTo>
                  <a:pt x="5916343" y="3714964"/>
                </a:lnTo>
                <a:lnTo>
                  <a:pt x="5901249" y="3601803"/>
                </a:lnTo>
                <a:cubicBezTo>
                  <a:pt x="5759004" y="2805473"/>
                  <a:pt x="5140685" y="2174072"/>
                  <a:pt x="4351213" y="2012523"/>
                </a:cubicBezTo>
                <a:lnTo>
                  <a:pt x="4189506" y="1987843"/>
                </a:lnTo>
                <a:close/>
                <a:moveTo>
                  <a:pt x="3714842" y="0"/>
                </a:moveTo>
                <a:lnTo>
                  <a:pt x="3714842" y="1987843"/>
                </a:lnTo>
                <a:lnTo>
                  <a:pt x="3553135" y="2012523"/>
                </a:lnTo>
                <a:cubicBezTo>
                  <a:pt x="2763664" y="2174072"/>
                  <a:pt x="2145344" y="2805473"/>
                  <a:pt x="2003100" y="3601803"/>
                </a:cubicBezTo>
                <a:lnTo>
                  <a:pt x="1988006" y="3714964"/>
                </a:lnTo>
                <a:lnTo>
                  <a:pt x="0" y="3714964"/>
                </a:lnTo>
                <a:lnTo>
                  <a:pt x="10162" y="3572393"/>
                </a:lnTo>
                <a:cubicBezTo>
                  <a:pt x="188670" y="1696933"/>
                  <a:pt x="1675236" y="202858"/>
                  <a:pt x="3547287" y="12741"/>
                </a:cubicBezTo>
                <a:close/>
              </a:path>
            </a:pathLst>
          </a:custGeom>
          <a:ln>
            <a:noFill/>
          </a:ln>
          <a:effectLst>
            <a:outerShdw blurRad="546100" sx="102000" sy="102000" algn="ctr" rotWithShape="0">
              <a:prstClr val="black">
                <a:alpha val="67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5275253" y="14516023"/>
            <a:ext cx="69215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1" u="none" strike="noStrike" kern="1200" cap="none" spc="60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Economic Development and Poverty Alleviation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3874419" y="16380405"/>
            <a:ext cx="7995553" cy="1815882"/>
          </a:xfrm>
          <a:prstGeom prst="rect">
            <a:avLst/>
          </a:prstGeom>
          <a:solidFill>
            <a:schemeClr val="bg1">
              <a:alpha val="39000"/>
            </a:scheme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softEdge rad="165100"/>
          </a:effectLst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Improvement in living standards 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Strengthening social stability and cohesion 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Addressing imbalanced urban-rural development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…  … ○</a:t>
            </a:r>
          </a:p>
        </p:txBody>
      </p:sp>
      <p:sp>
        <p:nvSpPr>
          <p:cNvPr id="25" name="矩形 24"/>
          <p:cNvSpPr/>
          <p:nvPr/>
        </p:nvSpPr>
        <p:spPr>
          <a:xfrm>
            <a:off x="3292577" y="7237344"/>
            <a:ext cx="9159239" cy="5964305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53016" y="7473279"/>
            <a:ext cx="82610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Economic Development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Poverty Alleviation</a:t>
            </a:r>
          </a:p>
        </p:txBody>
      </p:sp>
      <p:sp>
        <p:nvSpPr>
          <p:cNvPr id="27" name="矩形 26"/>
          <p:cNvSpPr/>
          <p:nvPr/>
        </p:nvSpPr>
        <p:spPr>
          <a:xfrm>
            <a:off x="3853016" y="8983846"/>
            <a:ext cx="7351867" cy="3007618"/>
          </a:xfrm>
          <a:prstGeom prst="rect">
            <a:avLst/>
          </a:prstGeom>
          <a:solidFill>
            <a:schemeClr val="bg1">
              <a:alpha val="39000"/>
            </a:schemeClr>
          </a:solidFill>
          <a:effectLst>
            <a:softEdge rad="533400"/>
          </a:effectLst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According to official data, China has achieved comprehensive poverty eradication by 2020, marking a historic milestone that significantly improved the living standards of millions of people. 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alpha val="70000"/>
                </a:schemeClr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11538790" y="11683365"/>
            <a:ext cx="579120" cy="579120"/>
            <a:chOff x="6438900" y="838200"/>
            <a:chExt cx="914400" cy="914400"/>
          </a:xfrm>
        </p:grpSpPr>
        <p:sp>
          <p:nvSpPr>
            <p:cNvPr id="29" name="矩形 28"/>
            <p:cNvSpPr/>
            <p:nvPr/>
          </p:nvSpPr>
          <p:spPr>
            <a:xfrm>
              <a:off x="6438900" y="838200"/>
              <a:ext cx="914400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30" name="直接箭头连接符 29"/>
            <p:cNvCxnSpPr/>
            <p:nvPr/>
          </p:nvCxnSpPr>
          <p:spPr>
            <a:xfrm>
              <a:off x="6650355" y="1297305"/>
              <a:ext cx="489585" cy="0"/>
            </a:xfrm>
            <a:prstGeom prst="straightConnector1">
              <a:avLst/>
            </a:prstGeom>
            <a:ln w="25400" cap="rnd">
              <a:solidFill>
                <a:srgbClr val="D89687"/>
              </a:solidFill>
              <a:round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文本框 30"/>
          <p:cNvSpPr txBox="1"/>
          <p:nvPr/>
        </p:nvSpPr>
        <p:spPr>
          <a:xfrm>
            <a:off x="3522012" y="736284"/>
            <a:ext cx="83057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Improvement in Social Governance</a:t>
            </a:r>
          </a:p>
        </p:txBody>
      </p:sp>
      <p:sp>
        <p:nvSpPr>
          <p:cNvPr id="32" name="矩形 31"/>
          <p:cNvSpPr/>
          <p:nvPr/>
        </p:nvSpPr>
        <p:spPr>
          <a:xfrm>
            <a:off x="3522012" y="1881567"/>
            <a:ext cx="8034454" cy="2408736"/>
          </a:xfrm>
          <a:prstGeom prst="rect">
            <a:avLst/>
          </a:prstGeom>
          <a:solidFill>
            <a:schemeClr val="bg1">
              <a:alpha val="40000"/>
            </a:schemeClr>
          </a:solidFill>
          <a:effectLst>
            <a:softEdge rad="342900"/>
          </a:effectLst>
        </p:spPr>
        <p:txBody>
          <a:bodyPr vert="horz"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Implementation of policies and measures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kumimoji="0" lang="en-US" altLang="zh-CN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Establishment of a sound legal system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kumimoji="0" lang="en-US" altLang="zh-CN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Enhancing grassroots governance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and community construction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○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9DE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4450632" y="213134"/>
            <a:ext cx="78745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Effective response to sudden events</a:t>
            </a:r>
          </a:p>
        </p:txBody>
      </p:sp>
      <p:sp>
        <p:nvSpPr>
          <p:cNvPr id="8" name="矩形 7"/>
          <p:cNvSpPr/>
          <p:nvPr/>
        </p:nvSpPr>
        <p:spPr>
          <a:xfrm>
            <a:off x="4450632" y="1846259"/>
            <a:ext cx="7411168" cy="3165482"/>
          </a:xfrm>
          <a:prstGeom prst="rect">
            <a:avLst/>
          </a:prstGeom>
          <a:solidFill>
            <a:schemeClr val="bg1">
              <a:alpha val="30000"/>
            </a:schemeClr>
          </a:solidFill>
          <a:effectLst>
            <a:softEdge rad="127000"/>
          </a:effectLst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华文仿宋" panose="02010600040101010101" pitchFamily="2" charset="-122"/>
                <a:ea typeface="华文仿宋" panose="02010600040101010101" pitchFamily="2" charset="-122"/>
                <a:cs typeface="Alibaba Sans Light" panose="020B0303020203040204" pitchFamily="34" charset="0"/>
              </a:rPr>
              <a:t>during the outbreak of the pandemic, the Chinese government promptly introduced a series of prevention and control measures and effectively controlled the spread of the virus through strong organizational coordination and social mobilization, maintaining social stability and security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4" r="2914"/>
          <a:stretch>
            <a:fillRect/>
          </a:stretch>
        </p:blipFill>
        <p:spPr bwMode="auto">
          <a:xfrm>
            <a:off x="-294227" y="-133350"/>
            <a:ext cx="4744859" cy="7124700"/>
          </a:xfrm>
          <a:prstGeom prst="rect">
            <a:avLst/>
          </a:prstGeom>
          <a:noFill/>
          <a:effectLst>
            <a:softEdge rad="1143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/>
          <p:cNvSpPr txBox="1"/>
          <p:nvPr/>
        </p:nvSpPr>
        <p:spPr>
          <a:xfrm>
            <a:off x="0" y="204448"/>
            <a:ext cx="81960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Cultural Inheritance &amp; Pluralistic Integration</a:t>
            </a:r>
          </a:p>
        </p:txBody>
      </p:sp>
      <p:sp>
        <p:nvSpPr>
          <p:cNvPr id="12" name="矩形 11"/>
          <p:cNvSpPr/>
          <p:nvPr/>
        </p:nvSpPr>
        <p:spPr>
          <a:xfrm>
            <a:off x="595389" y="1403221"/>
            <a:ext cx="6212204" cy="405155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Promotion of cultural innovation and develop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Advocacy for cultural diversity and inclusiveness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Establishment of a sound legal system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Protection and development of ethnic minority cultur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Promotion of exchanges and integration among various cultures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alpha val="70000"/>
                </a:schemeClr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>
                <a:lumMod val="60000"/>
                <a:lumOff val="40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669391" y="455545"/>
            <a:ext cx="10544175" cy="5825240"/>
          </a:xfrm>
          <a:prstGeom prst="rect">
            <a:avLst/>
          </a:prstGeom>
          <a:solidFill>
            <a:srgbClr val="48625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/>
              <a:cs typeface="+mn-cs"/>
            </a:endParaRPr>
          </a:p>
        </p:txBody>
      </p:sp>
      <p:graphicFrame>
        <p:nvGraphicFramePr>
          <p:cNvPr id="5" name="图示 4">
            <a:extLst>
              <a:ext uri="{FF2B5EF4-FFF2-40B4-BE49-F238E27FC236}">
                <a16:creationId xmlns:a16="http://schemas.microsoft.com/office/drawing/2014/main" id="{87EA5382-0127-FD5F-52C7-E56BCC3547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0225402"/>
              </p:ext>
            </p:extLst>
          </p:nvPr>
        </p:nvGraphicFramePr>
        <p:xfrm>
          <a:off x="800868" y="2195127"/>
          <a:ext cx="5162510" cy="20672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1" name="组合 10"/>
          <p:cNvGrpSpPr/>
          <p:nvPr/>
        </p:nvGrpSpPr>
        <p:grpSpPr>
          <a:xfrm>
            <a:off x="10300540" y="4901565"/>
            <a:ext cx="579120" cy="579120"/>
            <a:chOff x="6438900" y="838200"/>
            <a:chExt cx="914400" cy="914400"/>
          </a:xfrm>
        </p:grpSpPr>
        <p:sp>
          <p:nvSpPr>
            <p:cNvPr id="12" name="矩形 11"/>
            <p:cNvSpPr/>
            <p:nvPr/>
          </p:nvSpPr>
          <p:spPr>
            <a:xfrm>
              <a:off x="6438900" y="838200"/>
              <a:ext cx="914400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/>
                <a:cs typeface="+mn-cs"/>
              </a:endParaRPr>
            </a:p>
          </p:txBody>
        </p:sp>
        <p:cxnSp>
          <p:nvCxnSpPr>
            <p:cNvPr id="13" name="直接箭头连接符 12"/>
            <p:cNvCxnSpPr/>
            <p:nvPr/>
          </p:nvCxnSpPr>
          <p:spPr>
            <a:xfrm>
              <a:off x="6650355" y="1297305"/>
              <a:ext cx="489585" cy="0"/>
            </a:xfrm>
            <a:prstGeom prst="straightConnector1">
              <a:avLst/>
            </a:prstGeom>
            <a:ln w="25400" cap="rnd">
              <a:solidFill>
                <a:srgbClr val="D89687"/>
              </a:solidFill>
              <a:round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矩形 1">
            <a:extLst>
              <a:ext uri="{FF2B5EF4-FFF2-40B4-BE49-F238E27FC236}">
                <a16:creationId xmlns:a16="http://schemas.microsoft.com/office/drawing/2014/main" id="{4E11480D-15F9-3715-0622-BC150C3E8739}"/>
              </a:ext>
            </a:extLst>
          </p:cNvPr>
          <p:cNvSpPr/>
          <p:nvPr/>
        </p:nvSpPr>
        <p:spPr>
          <a:xfrm>
            <a:off x="611942" y="380755"/>
            <a:ext cx="7907025" cy="640939"/>
          </a:xfrm>
          <a:prstGeom prst="rect">
            <a:avLst/>
          </a:prstGeom>
          <a:solidFill>
            <a:schemeClr val="accent1">
              <a:lumMod val="60000"/>
              <a:lumOff val="40000"/>
              <a:alpha val="77000"/>
            </a:schemeClr>
          </a:solidFill>
          <a:ln>
            <a:noFill/>
          </a:ln>
          <a:effectLst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Influence of Traditional Chinese Culture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4A1B484-1E8F-AA63-81C4-50FA3798B2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855" y="1247082"/>
            <a:ext cx="5118711" cy="336613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>
                <a:lumMod val="60000"/>
                <a:lumOff val="40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669391" y="455545"/>
            <a:ext cx="10544175" cy="5825240"/>
          </a:xfrm>
          <a:prstGeom prst="rect">
            <a:avLst/>
          </a:prstGeom>
          <a:solidFill>
            <a:srgbClr val="486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/>
              <a:cs typeface="+mn-cs"/>
            </a:endParaRPr>
          </a:p>
        </p:txBody>
      </p:sp>
      <p:graphicFrame>
        <p:nvGraphicFramePr>
          <p:cNvPr id="6" name="图示 5">
            <a:extLst>
              <a:ext uri="{FF2B5EF4-FFF2-40B4-BE49-F238E27FC236}">
                <a16:creationId xmlns:a16="http://schemas.microsoft.com/office/drawing/2014/main" id="{4097BF7C-25BC-FCFF-228C-06E7707377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5379220"/>
              </p:ext>
            </p:extLst>
          </p:nvPr>
        </p:nvGraphicFramePr>
        <p:xfrm>
          <a:off x="-98927" y="1232703"/>
          <a:ext cx="7344137" cy="49308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1" name="组合 10"/>
          <p:cNvGrpSpPr/>
          <p:nvPr/>
        </p:nvGrpSpPr>
        <p:grpSpPr>
          <a:xfrm>
            <a:off x="10300540" y="4901565"/>
            <a:ext cx="579120" cy="579120"/>
            <a:chOff x="6438900" y="838200"/>
            <a:chExt cx="914400" cy="914400"/>
          </a:xfrm>
        </p:grpSpPr>
        <p:sp>
          <p:nvSpPr>
            <p:cNvPr id="12" name="矩形 11"/>
            <p:cNvSpPr/>
            <p:nvPr/>
          </p:nvSpPr>
          <p:spPr>
            <a:xfrm>
              <a:off x="6438900" y="838200"/>
              <a:ext cx="914400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/>
                <a:cs typeface="+mn-cs"/>
              </a:endParaRPr>
            </a:p>
          </p:txBody>
        </p:sp>
        <p:cxnSp>
          <p:nvCxnSpPr>
            <p:cNvPr id="13" name="直接箭头连接符 12"/>
            <p:cNvCxnSpPr/>
            <p:nvPr/>
          </p:nvCxnSpPr>
          <p:spPr>
            <a:xfrm>
              <a:off x="6650355" y="1297305"/>
              <a:ext cx="489585" cy="0"/>
            </a:xfrm>
            <a:prstGeom prst="straightConnector1">
              <a:avLst/>
            </a:prstGeom>
            <a:ln w="25400" cap="rnd">
              <a:solidFill>
                <a:srgbClr val="D89687"/>
              </a:solidFill>
              <a:round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矩形 1">
            <a:extLst>
              <a:ext uri="{FF2B5EF4-FFF2-40B4-BE49-F238E27FC236}">
                <a16:creationId xmlns:a16="http://schemas.microsoft.com/office/drawing/2014/main" id="{84A2594E-3E9A-D1E1-7B1D-F7B472989871}"/>
              </a:ext>
            </a:extLst>
          </p:cNvPr>
          <p:cNvSpPr/>
          <p:nvPr/>
        </p:nvSpPr>
        <p:spPr>
          <a:xfrm>
            <a:off x="608732" y="379919"/>
            <a:ext cx="8882508" cy="640939"/>
          </a:xfrm>
          <a:prstGeom prst="rect">
            <a:avLst/>
          </a:prstGeom>
          <a:solidFill>
            <a:schemeClr val="accent1">
              <a:lumMod val="60000"/>
              <a:lumOff val="40000"/>
              <a:alpha val="77000"/>
            </a:schemeClr>
          </a:solidFill>
          <a:ln>
            <a:noFill/>
          </a:ln>
          <a:effectLst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Government's Emphasis on Social Harmony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84DE782B-C793-579B-A701-400CEA69B52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8784" y="1232703"/>
            <a:ext cx="4922724" cy="355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70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>
                <a:lumMod val="60000"/>
                <a:lumOff val="40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669391" y="455545"/>
            <a:ext cx="10544175" cy="5825240"/>
          </a:xfrm>
          <a:prstGeom prst="rect">
            <a:avLst/>
          </a:prstGeom>
          <a:solidFill>
            <a:srgbClr val="486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/>
              <a:cs typeface="+mn-cs"/>
            </a:endParaRPr>
          </a:p>
        </p:txBody>
      </p:sp>
      <p:graphicFrame>
        <p:nvGraphicFramePr>
          <p:cNvPr id="4" name="图示 3">
            <a:extLst>
              <a:ext uri="{FF2B5EF4-FFF2-40B4-BE49-F238E27FC236}">
                <a16:creationId xmlns:a16="http://schemas.microsoft.com/office/drawing/2014/main" id="{F23E880B-04CF-1C82-9A7C-1A7D164B0F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6827242"/>
              </p:ext>
            </p:extLst>
          </p:nvPr>
        </p:nvGraphicFramePr>
        <p:xfrm>
          <a:off x="-430204" y="1202374"/>
          <a:ext cx="7612295" cy="5113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1" name="组合 10"/>
          <p:cNvGrpSpPr/>
          <p:nvPr/>
        </p:nvGrpSpPr>
        <p:grpSpPr>
          <a:xfrm>
            <a:off x="10300540" y="4901565"/>
            <a:ext cx="579120" cy="579120"/>
            <a:chOff x="6438900" y="838200"/>
            <a:chExt cx="914400" cy="914400"/>
          </a:xfrm>
        </p:grpSpPr>
        <p:sp>
          <p:nvSpPr>
            <p:cNvPr id="12" name="矩形 11"/>
            <p:cNvSpPr/>
            <p:nvPr/>
          </p:nvSpPr>
          <p:spPr>
            <a:xfrm>
              <a:off x="6438900" y="838200"/>
              <a:ext cx="914400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/>
                <a:cs typeface="+mn-cs"/>
              </a:endParaRPr>
            </a:p>
          </p:txBody>
        </p:sp>
        <p:cxnSp>
          <p:nvCxnSpPr>
            <p:cNvPr id="13" name="直接箭头连接符 12"/>
            <p:cNvCxnSpPr/>
            <p:nvPr/>
          </p:nvCxnSpPr>
          <p:spPr>
            <a:xfrm>
              <a:off x="6650355" y="1297305"/>
              <a:ext cx="489585" cy="0"/>
            </a:xfrm>
            <a:prstGeom prst="straightConnector1">
              <a:avLst/>
            </a:prstGeom>
            <a:ln w="25400" cap="rnd">
              <a:solidFill>
                <a:srgbClr val="D89687"/>
              </a:solidFill>
              <a:round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矩形 1">
            <a:extLst>
              <a:ext uri="{FF2B5EF4-FFF2-40B4-BE49-F238E27FC236}">
                <a16:creationId xmlns:a16="http://schemas.microsoft.com/office/drawing/2014/main" id="{3AAF6711-E0B0-F19B-4BAB-1D51021B6996}"/>
              </a:ext>
            </a:extLst>
          </p:cNvPr>
          <p:cNvSpPr/>
          <p:nvPr/>
        </p:nvSpPr>
        <p:spPr>
          <a:xfrm>
            <a:off x="611943" y="420622"/>
            <a:ext cx="8277414" cy="640939"/>
          </a:xfrm>
          <a:prstGeom prst="rect">
            <a:avLst/>
          </a:prstGeom>
          <a:solidFill>
            <a:schemeClr val="accent1">
              <a:lumMod val="60000"/>
              <a:lumOff val="40000"/>
              <a:alpha val="77000"/>
            </a:schemeClr>
          </a:solidFill>
          <a:ln>
            <a:noFill/>
          </a:ln>
          <a:effectLst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Impact of Reform and Opening-up Policy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86F188D-95F4-50E5-0B86-D58D6A3637B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9094" y="1173182"/>
            <a:ext cx="5204471" cy="2928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85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896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-165100" y="1096309"/>
            <a:ext cx="12438572" cy="446629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368300" sx="102000" sy="102000" algn="ctr" rotWithShape="0">
              <a:prstClr val="black">
                <a:alpha val="14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82134" y="-115034"/>
            <a:ext cx="4687746" cy="7023834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  <a:softEdge rad="152400"/>
          </a:effectLst>
        </p:spPr>
      </p:pic>
      <p:sp>
        <p:nvSpPr>
          <p:cNvPr id="4" name="矩形 3"/>
          <p:cNvSpPr/>
          <p:nvPr/>
        </p:nvSpPr>
        <p:spPr>
          <a:xfrm>
            <a:off x="747194" y="4208764"/>
            <a:ext cx="8904805" cy="1008418"/>
          </a:xfrm>
          <a:prstGeom prst="rect">
            <a:avLst/>
          </a:prstGeom>
          <a:solidFill>
            <a:srgbClr val="486255">
              <a:alpha val="90000"/>
            </a:srgbClr>
          </a:solidFill>
          <a:ln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-33123" y="1096309"/>
            <a:ext cx="780318" cy="4466290"/>
          </a:xfrm>
          <a:prstGeom prst="rect">
            <a:avLst/>
          </a:prstGeom>
          <a:solidFill>
            <a:schemeClr val="accent6">
              <a:lumMod val="60000"/>
              <a:lumOff val="40000"/>
              <a:alpha val="92000"/>
            </a:schemeClr>
          </a:solidFill>
          <a:ln>
            <a:noFill/>
          </a:ln>
          <a:effectLst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 flipH="1">
            <a:off x="932445" y="2321927"/>
            <a:ext cx="50233" cy="887770"/>
          </a:xfrm>
          <a:prstGeom prst="rect">
            <a:avLst/>
          </a:prstGeom>
          <a:solidFill>
            <a:srgbClr val="486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  <a:latin typeface="字魂58号-创中黑" panose="00000500000000000000" pitchFamily="2" charset="-122"/>
              <a:ea typeface="字魂58号-创中黑" panose="00000500000000000000" pitchFamily="2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120307" y="2227203"/>
            <a:ext cx="661674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宋体 CN SemiBold" panose="02020600000000000000" pitchFamily="18" charset="-122"/>
                <a:ea typeface="思源宋体 CN SemiBold" panose="02020600000000000000" pitchFamily="18" charset="-122"/>
              </a:rPr>
              <a:t>Harmony </a:t>
            </a:r>
          </a:p>
          <a:p>
            <a:r>
              <a:rPr lang="en-US" altLang="zh-CN" sz="3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宋体 CN SemiBold" panose="02020600000000000000" pitchFamily="18" charset="-122"/>
                <a:ea typeface="思源宋体 CN SemiBold" panose="02020600000000000000" pitchFamily="18" charset="-122"/>
              </a:rPr>
              <a:t>in the international community</a:t>
            </a:r>
            <a:endParaRPr lang="zh-CN" altLang="en-US" sz="3200" b="1" i="1" dirty="0">
              <a:solidFill>
                <a:schemeClr val="tx1">
                  <a:lumMod val="75000"/>
                  <a:lumOff val="25000"/>
                </a:schemeClr>
              </a:solidFill>
              <a:latin typeface="思源宋体 CN SemiBold" panose="02020600000000000000" pitchFamily="18" charset="-122"/>
              <a:ea typeface="思源宋体 CN SemiBold" panose="02020600000000000000" pitchFamily="18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932445" y="1427999"/>
            <a:ext cx="183896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b="1" i="1" dirty="0">
                <a:solidFill>
                  <a:schemeClr val="tx1">
                    <a:lumMod val="75000"/>
                    <a:lumOff val="25000"/>
                  </a:schemeClr>
                </a:solidFill>
                <a:ea typeface="思源宋体 CN SemiBold" panose="02020600000000000000" pitchFamily="18" charset="-122"/>
              </a:rPr>
              <a:t>Part 03</a:t>
            </a:r>
            <a:endParaRPr lang="zh-CN" altLang="en-US" sz="4000" b="1" i="1" dirty="0">
              <a:solidFill>
                <a:schemeClr val="tx1">
                  <a:lumMod val="75000"/>
                  <a:lumOff val="25000"/>
                </a:schemeClr>
              </a:solidFill>
              <a:ea typeface="思源宋体 CN SemiBold" panose="02020600000000000000" pitchFamily="18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-670187" y="686570"/>
            <a:ext cx="8178800" cy="1944763"/>
          </a:xfrm>
        </p:spPr>
        <p:txBody>
          <a:bodyPr>
            <a:normAutofit/>
          </a:bodyPr>
          <a:lstStyle/>
          <a:p>
            <a:pPr algn="ctr"/>
            <a:r>
              <a:rPr lang="en-US" altLang="zh-CN" sz="5400" b="1" i="1" spc="600" dirty="0">
                <a:solidFill>
                  <a:schemeClr val="bg1"/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The importance </a:t>
            </a:r>
          </a:p>
        </p:txBody>
      </p:sp>
      <p:sp>
        <p:nvSpPr>
          <p:cNvPr id="14" name="矩形: 圆角 13"/>
          <p:cNvSpPr/>
          <p:nvPr/>
        </p:nvSpPr>
        <p:spPr>
          <a:xfrm>
            <a:off x="3401401" y="2797072"/>
            <a:ext cx="4534246" cy="6090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椭圆 17"/>
          <p:cNvSpPr/>
          <p:nvPr/>
        </p:nvSpPr>
        <p:spPr>
          <a:xfrm>
            <a:off x="122853" y="3213855"/>
            <a:ext cx="2556030" cy="2479182"/>
          </a:xfrm>
          <a:prstGeom prst="ellipse">
            <a:avLst/>
          </a:prstGeom>
          <a:gradFill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右中括号 19"/>
          <p:cNvSpPr/>
          <p:nvPr/>
        </p:nvSpPr>
        <p:spPr>
          <a:xfrm rot="10800000">
            <a:off x="2995705" y="3090189"/>
            <a:ext cx="405696" cy="2726515"/>
          </a:xfrm>
          <a:prstGeom prst="rightBracket">
            <a:avLst>
              <a:gd name="adj" fmla="val 96046"/>
            </a:avLst>
          </a:prstGeom>
          <a:ln w="19050">
            <a:solidFill>
              <a:srgbClr val="E7A2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1" name="直接连接符 20"/>
          <p:cNvCxnSpPr>
            <a:stCxn id="18" idx="6"/>
            <a:endCxn id="20" idx="2"/>
          </p:cNvCxnSpPr>
          <p:nvPr/>
        </p:nvCxnSpPr>
        <p:spPr>
          <a:xfrm>
            <a:off x="2678883" y="4453446"/>
            <a:ext cx="316822" cy="0"/>
          </a:xfrm>
          <a:prstGeom prst="line">
            <a:avLst/>
          </a:prstGeom>
          <a:ln w="19050">
            <a:solidFill>
              <a:srgbClr val="D195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/>
        </p:nvSpPr>
        <p:spPr>
          <a:xfrm>
            <a:off x="3563117" y="2784294"/>
            <a:ext cx="34501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cultural exchange</a:t>
            </a:r>
            <a:endParaRPr lang="zh-CN" altLang="en-US" sz="2800" b="1" dirty="0"/>
          </a:p>
        </p:txBody>
      </p:sp>
      <p:sp>
        <p:nvSpPr>
          <p:cNvPr id="38" name="矩形: 圆角 37"/>
          <p:cNvSpPr/>
          <p:nvPr/>
        </p:nvSpPr>
        <p:spPr>
          <a:xfrm>
            <a:off x="3419213" y="3697814"/>
            <a:ext cx="4534246" cy="60907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9" name="矩形: 圆角 38"/>
          <p:cNvSpPr/>
          <p:nvPr/>
        </p:nvSpPr>
        <p:spPr>
          <a:xfrm>
            <a:off x="3419213" y="4577456"/>
            <a:ext cx="4534246" cy="60907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0" name="矩形: 圆角 39"/>
          <p:cNvSpPr/>
          <p:nvPr/>
        </p:nvSpPr>
        <p:spPr>
          <a:xfrm>
            <a:off x="3419213" y="5512167"/>
            <a:ext cx="4534246" cy="60907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4" name="文本框 43"/>
          <p:cNvSpPr txBox="1"/>
          <p:nvPr/>
        </p:nvSpPr>
        <p:spPr>
          <a:xfrm>
            <a:off x="3563117" y="3740741"/>
            <a:ext cx="3942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economic cooperation 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3563117" y="4600840"/>
            <a:ext cx="46537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>
                <a:solidFill>
                  <a:schemeClr val="bg1"/>
                </a:solidFill>
              </a:rPr>
              <a:t>transnational challenges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3419213" y="5555094"/>
            <a:ext cx="45342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>
                <a:solidFill>
                  <a:schemeClr val="bg1"/>
                </a:solidFill>
              </a:rPr>
              <a:t>the risk of war and conflic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284698" y="3739065"/>
            <a:ext cx="222336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</a:rPr>
              <a:t>global stability &amp;prosperity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8023946" y="-3015295"/>
            <a:ext cx="69215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400" b="1" i="1" spc="600" dirty="0">
                <a:solidFill>
                  <a:schemeClr val="bg1"/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The global impact </a:t>
            </a:r>
            <a:endParaRPr lang="zh-CN" altLang="en-US" sz="4400" b="1" dirty="0">
              <a:solidFill>
                <a:schemeClr val="bg1"/>
              </a:solidFill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11795846" y="-2269409"/>
            <a:ext cx="78232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the safety of local populations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○</a:t>
            </a:r>
            <a:endParaRPr lang="en-US" altLang="zh-CN" sz="3600" b="1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political stability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</a:p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ethnic relations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lang="en-US" altLang="zh-CN" sz="3600" b="1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Economy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</a:p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…  …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lang="en-US" altLang="zh-CN" sz="3600" b="1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椭圆 8"/>
          <p:cNvSpPr/>
          <p:nvPr/>
        </p:nvSpPr>
        <p:spPr>
          <a:xfrm>
            <a:off x="800100" y="1346200"/>
            <a:ext cx="8737600" cy="8369300"/>
          </a:xfrm>
          <a:prstGeom prst="ellipse">
            <a:avLst/>
          </a:prstGeom>
          <a:ln>
            <a:noFill/>
          </a:ln>
          <a:effectLst>
            <a:outerShdw blurRad="546100" sx="102000" sy="102000" algn="ctr" rotWithShape="0">
              <a:prstClr val="black">
                <a:alpha val="67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177800" y="52369"/>
            <a:ext cx="69215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400" b="1" i="1" spc="600" dirty="0">
                <a:solidFill>
                  <a:schemeClr val="bg1"/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The global impact </a:t>
            </a:r>
            <a:endParaRPr lang="zh-CN" altLang="en-US" sz="4400" b="1" dirty="0">
              <a:solidFill>
                <a:schemeClr val="bg1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3949700" y="798255"/>
            <a:ext cx="78232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the safety of local populations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○</a:t>
            </a:r>
            <a:endParaRPr lang="en-US" altLang="zh-CN" sz="3600" b="1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political stability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</a:p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ethnic relations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lang="en-US" altLang="zh-CN" sz="3600" b="1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Economy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</a:p>
          <a:p>
            <a:pPr marR="0" algn="r">
              <a:spcBef>
                <a:spcPts val="0"/>
              </a:spcBef>
              <a:spcAft>
                <a:spcPts val="0"/>
              </a:spcAft>
            </a:pPr>
            <a:r>
              <a:rPr lang="en-US" altLang="zh-CN" sz="36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…  …</a:t>
            </a:r>
            <a:r>
              <a:rPr lang="en-US" altLang="zh-CN" sz="3600" b="1" kern="100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lang="en-US" altLang="zh-CN" sz="3600" b="1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8" name="标题 3"/>
          <p:cNvSpPr txBox="1"/>
          <p:nvPr/>
        </p:nvSpPr>
        <p:spPr>
          <a:xfrm>
            <a:off x="-9175565" y="5360168"/>
            <a:ext cx="8178800" cy="19447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5400" b="1" i="1" spc="600">
                <a:solidFill>
                  <a:schemeClr val="bg1"/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The importance </a:t>
            </a:r>
            <a:endParaRPr lang="en-US" altLang="zh-CN" sz="5400" b="1" i="1" spc="600" dirty="0">
              <a:solidFill>
                <a:schemeClr val="bg1"/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sp>
        <p:nvSpPr>
          <p:cNvPr id="19" name="矩形: 圆角 18"/>
          <p:cNvSpPr/>
          <p:nvPr/>
        </p:nvSpPr>
        <p:spPr>
          <a:xfrm>
            <a:off x="-5103977" y="7470670"/>
            <a:ext cx="4534246" cy="6090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椭圆 19"/>
          <p:cNvSpPr/>
          <p:nvPr/>
        </p:nvSpPr>
        <p:spPr>
          <a:xfrm>
            <a:off x="-8382525" y="7887453"/>
            <a:ext cx="2556030" cy="2479182"/>
          </a:xfrm>
          <a:prstGeom prst="ellipse">
            <a:avLst/>
          </a:prstGeom>
          <a:gradFill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1" name="右中括号 20"/>
          <p:cNvSpPr/>
          <p:nvPr/>
        </p:nvSpPr>
        <p:spPr>
          <a:xfrm rot="10800000">
            <a:off x="-5509673" y="7763787"/>
            <a:ext cx="405696" cy="2726515"/>
          </a:xfrm>
          <a:prstGeom prst="rightBracket">
            <a:avLst>
              <a:gd name="adj" fmla="val 96046"/>
            </a:avLst>
          </a:prstGeom>
          <a:ln w="19050">
            <a:solidFill>
              <a:srgbClr val="E7A2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2" name="直接连接符 21"/>
          <p:cNvCxnSpPr>
            <a:stCxn id="20" idx="6"/>
            <a:endCxn id="21" idx="2"/>
          </p:cNvCxnSpPr>
          <p:nvPr/>
        </p:nvCxnSpPr>
        <p:spPr>
          <a:xfrm>
            <a:off x="-5826495" y="9127044"/>
            <a:ext cx="316822" cy="0"/>
          </a:xfrm>
          <a:prstGeom prst="line">
            <a:avLst/>
          </a:prstGeom>
          <a:ln w="19050">
            <a:solidFill>
              <a:srgbClr val="D195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-4942261" y="7457892"/>
            <a:ext cx="34501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cultural exchange</a:t>
            </a:r>
            <a:endParaRPr lang="zh-CN" altLang="en-US" sz="2800" b="1" dirty="0"/>
          </a:p>
        </p:txBody>
      </p:sp>
      <p:sp>
        <p:nvSpPr>
          <p:cNvPr id="24" name="矩形: 圆角 23"/>
          <p:cNvSpPr/>
          <p:nvPr/>
        </p:nvSpPr>
        <p:spPr>
          <a:xfrm>
            <a:off x="-5086165" y="8371412"/>
            <a:ext cx="4534246" cy="60907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5" name="矩形: 圆角 24"/>
          <p:cNvSpPr/>
          <p:nvPr/>
        </p:nvSpPr>
        <p:spPr>
          <a:xfrm>
            <a:off x="-5086165" y="9251054"/>
            <a:ext cx="4534246" cy="60907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6" name="矩形: 圆角 25"/>
          <p:cNvSpPr/>
          <p:nvPr/>
        </p:nvSpPr>
        <p:spPr>
          <a:xfrm>
            <a:off x="-5086165" y="10185765"/>
            <a:ext cx="4534246" cy="60907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B2A3"/>
              </a:gs>
              <a:gs pos="100000">
                <a:schemeClr val="tx1">
                  <a:alpha val="2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7" name="文本框 26"/>
          <p:cNvSpPr txBox="1"/>
          <p:nvPr/>
        </p:nvSpPr>
        <p:spPr>
          <a:xfrm>
            <a:off x="-4942261" y="8414339"/>
            <a:ext cx="3942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economic cooperation 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-4942261" y="9274438"/>
            <a:ext cx="46537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>
                <a:solidFill>
                  <a:schemeClr val="bg1"/>
                </a:solidFill>
              </a:rPr>
              <a:t>transnational challenges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-5086165" y="10228692"/>
            <a:ext cx="45342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>
                <a:solidFill>
                  <a:schemeClr val="bg1"/>
                </a:solidFill>
              </a:rPr>
              <a:t>the risk of war and conflic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-8220680" y="8412663"/>
            <a:ext cx="222336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</a:rPr>
              <a:t>global stability &amp;prosperit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7256" y="5248642"/>
            <a:ext cx="2694044" cy="1944618"/>
            <a:chOff x="2791555" y="1043782"/>
            <a:chExt cx="6608891" cy="4770437"/>
          </a:xfrm>
        </p:grpSpPr>
        <p:sp>
          <p:nvSpPr>
            <p:cNvPr id="12" name="íṧľîḓê"/>
            <p:cNvSpPr/>
            <p:nvPr/>
          </p:nvSpPr>
          <p:spPr bwMode="auto">
            <a:xfrm>
              <a:off x="2791555" y="5634410"/>
              <a:ext cx="6608890" cy="179809"/>
            </a:xfrm>
            <a:custGeom>
              <a:avLst/>
              <a:gdLst>
                <a:gd name="T0" fmla="*/ 20 w 1733"/>
                <a:gd name="T1" fmla="*/ 47 h 47"/>
                <a:gd name="T2" fmla="*/ 1713 w 1733"/>
                <a:gd name="T3" fmla="*/ 47 h 47"/>
                <a:gd name="T4" fmla="*/ 1733 w 1733"/>
                <a:gd name="T5" fmla="*/ 27 h 47"/>
                <a:gd name="T6" fmla="*/ 1733 w 1733"/>
                <a:gd name="T7" fmla="*/ 20 h 47"/>
                <a:gd name="T8" fmla="*/ 1713 w 1733"/>
                <a:gd name="T9" fmla="*/ 0 h 47"/>
                <a:gd name="T10" fmla="*/ 20 w 1733"/>
                <a:gd name="T11" fmla="*/ 0 h 47"/>
                <a:gd name="T12" fmla="*/ 0 w 1733"/>
                <a:gd name="T13" fmla="*/ 20 h 47"/>
                <a:gd name="T14" fmla="*/ 0 w 1733"/>
                <a:gd name="T15" fmla="*/ 27 h 47"/>
                <a:gd name="T16" fmla="*/ 20 w 1733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3" h="47">
                  <a:moveTo>
                    <a:pt x="20" y="47"/>
                  </a:moveTo>
                  <a:cubicBezTo>
                    <a:pt x="1713" y="47"/>
                    <a:pt x="1713" y="47"/>
                    <a:pt x="1713" y="47"/>
                  </a:cubicBezTo>
                  <a:cubicBezTo>
                    <a:pt x="1724" y="47"/>
                    <a:pt x="1733" y="38"/>
                    <a:pt x="1733" y="27"/>
                  </a:cubicBezTo>
                  <a:cubicBezTo>
                    <a:pt x="1733" y="20"/>
                    <a:pt x="1733" y="20"/>
                    <a:pt x="1733" y="20"/>
                  </a:cubicBezTo>
                  <a:cubicBezTo>
                    <a:pt x="1733" y="9"/>
                    <a:pt x="1724" y="0"/>
                    <a:pt x="1713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8"/>
                    <a:pt x="9" y="47"/>
                    <a:pt x="20" y="47"/>
                  </a:cubicBezTo>
                  <a:close/>
                </a:path>
              </a:pathLst>
            </a:cu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îŝľîdê"/>
            <p:cNvSpPr/>
            <p:nvPr/>
          </p:nvSpPr>
          <p:spPr bwMode="auto">
            <a:xfrm>
              <a:off x="8519749" y="3245522"/>
              <a:ext cx="658688" cy="660522"/>
            </a:xfrm>
            <a:custGeom>
              <a:avLst/>
              <a:gdLst>
                <a:gd name="T0" fmla="*/ 86 w 173"/>
                <a:gd name="T1" fmla="*/ 173 h 173"/>
                <a:gd name="T2" fmla="*/ 0 w 173"/>
                <a:gd name="T3" fmla="*/ 87 h 173"/>
                <a:gd name="T4" fmla="*/ 86 w 173"/>
                <a:gd name="T5" fmla="*/ 0 h 173"/>
                <a:gd name="T6" fmla="*/ 173 w 173"/>
                <a:gd name="T7" fmla="*/ 87 h 173"/>
                <a:gd name="T8" fmla="*/ 86 w 173"/>
                <a:gd name="T9" fmla="*/ 173 h 173"/>
                <a:gd name="T10" fmla="*/ 86 w 173"/>
                <a:gd name="T11" fmla="*/ 8 h 173"/>
                <a:gd name="T12" fmla="*/ 8 w 173"/>
                <a:gd name="T13" fmla="*/ 87 h 173"/>
                <a:gd name="T14" fmla="*/ 86 w 173"/>
                <a:gd name="T15" fmla="*/ 165 h 173"/>
                <a:gd name="T16" fmla="*/ 165 w 173"/>
                <a:gd name="T17" fmla="*/ 87 h 173"/>
                <a:gd name="T18" fmla="*/ 86 w 173"/>
                <a:gd name="T19" fmla="*/ 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3" h="173">
                  <a:moveTo>
                    <a:pt x="86" y="173"/>
                  </a:moveTo>
                  <a:cubicBezTo>
                    <a:pt x="39" y="173"/>
                    <a:pt x="0" y="134"/>
                    <a:pt x="0" y="87"/>
                  </a:cubicBezTo>
                  <a:cubicBezTo>
                    <a:pt x="0" y="39"/>
                    <a:pt x="39" y="0"/>
                    <a:pt x="86" y="0"/>
                  </a:cubicBezTo>
                  <a:cubicBezTo>
                    <a:pt x="134" y="0"/>
                    <a:pt x="173" y="39"/>
                    <a:pt x="173" y="87"/>
                  </a:cubicBezTo>
                  <a:cubicBezTo>
                    <a:pt x="173" y="134"/>
                    <a:pt x="134" y="173"/>
                    <a:pt x="86" y="173"/>
                  </a:cubicBezTo>
                  <a:close/>
                  <a:moveTo>
                    <a:pt x="86" y="8"/>
                  </a:moveTo>
                  <a:cubicBezTo>
                    <a:pt x="43" y="8"/>
                    <a:pt x="8" y="43"/>
                    <a:pt x="8" y="87"/>
                  </a:cubicBezTo>
                  <a:cubicBezTo>
                    <a:pt x="8" y="130"/>
                    <a:pt x="43" y="165"/>
                    <a:pt x="86" y="165"/>
                  </a:cubicBezTo>
                  <a:cubicBezTo>
                    <a:pt x="130" y="165"/>
                    <a:pt x="165" y="130"/>
                    <a:pt x="165" y="87"/>
                  </a:cubicBezTo>
                  <a:cubicBezTo>
                    <a:pt x="165" y="43"/>
                    <a:pt x="130" y="8"/>
                    <a:pt x="86" y="8"/>
                  </a:cubicBezTo>
                  <a:close/>
                </a:path>
              </a:pathLst>
            </a:cu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Sḻîḍê"/>
            <p:cNvSpPr/>
            <p:nvPr/>
          </p:nvSpPr>
          <p:spPr bwMode="auto">
            <a:xfrm>
              <a:off x="8583967" y="3311574"/>
              <a:ext cx="530253" cy="528418"/>
            </a:xfrm>
            <a:custGeom>
              <a:avLst/>
              <a:gdLst>
                <a:gd name="T0" fmla="*/ 69 w 139"/>
                <a:gd name="T1" fmla="*/ 0 h 139"/>
                <a:gd name="T2" fmla="*/ 0 w 139"/>
                <a:gd name="T3" fmla="*/ 70 h 139"/>
                <a:gd name="T4" fmla="*/ 69 w 139"/>
                <a:gd name="T5" fmla="*/ 139 h 139"/>
                <a:gd name="T6" fmla="*/ 139 w 139"/>
                <a:gd name="T7" fmla="*/ 70 h 139"/>
                <a:gd name="T8" fmla="*/ 69 w 139"/>
                <a:gd name="T9" fmla="*/ 0 h 139"/>
                <a:gd name="T10" fmla="*/ 69 w 139"/>
                <a:gd name="T11" fmla="*/ 111 h 139"/>
                <a:gd name="T12" fmla="*/ 28 w 139"/>
                <a:gd name="T13" fmla="*/ 70 h 139"/>
                <a:gd name="T14" fmla="*/ 69 w 139"/>
                <a:gd name="T15" fmla="*/ 28 h 139"/>
                <a:gd name="T16" fmla="*/ 111 w 139"/>
                <a:gd name="T17" fmla="*/ 70 h 139"/>
                <a:gd name="T18" fmla="*/ 69 w 139"/>
                <a:gd name="T19" fmla="*/ 11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9">
                  <a:moveTo>
                    <a:pt x="69" y="0"/>
                  </a:moveTo>
                  <a:cubicBezTo>
                    <a:pt x="31" y="0"/>
                    <a:pt x="0" y="31"/>
                    <a:pt x="0" y="70"/>
                  </a:cubicBezTo>
                  <a:cubicBezTo>
                    <a:pt x="0" y="108"/>
                    <a:pt x="31" y="139"/>
                    <a:pt x="69" y="139"/>
                  </a:cubicBezTo>
                  <a:cubicBezTo>
                    <a:pt x="108" y="139"/>
                    <a:pt x="139" y="108"/>
                    <a:pt x="139" y="70"/>
                  </a:cubicBezTo>
                  <a:cubicBezTo>
                    <a:pt x="139" y="31"/>
                    <a:pt x="108" y="0"/>
                    <a:pt x="69" y="0"/>
                  </a:cubicBezTo>
                  <a:close/>
                  <a:moveTo>
                    <a:pt x="69" y="111"/>
                  </a:moveTo>
                  <a:cubicBezTo>
                    <a:pt x="47" y="111"/>
                    <a:pt x="28" y="92"/>
                    <a:pt x="28" y="70"/>
                  </a:cubicBezTo>
                  <a:cubicBezTo>
                    <a:pt x="28" y="47"/>
                    <a:pt x="47" y="28"/>
                    <a:pt x="69" y="28"/>
                  </a:cubicBezTo>
                  <a:cubicBezTo>
                    <a:pt x="92" y="28"/>
                    <a:pt x="111" y="47"/>
                    <a:pt x="111" y="70"/>
                  </a:cubicBezTo>
                  <a:cubicBezTo>
                    <a:pt x="111" y="92"/>
                    <a:pt x="92" y="111"/>
                    <a:pt x="69" y="111"/>
                  </a:cubicBezTo>
                  <a:close/>
                </a:path>
              </a:pathLst>
            </a:cu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S1ïḍé"/>
            <p:cNvSpPr/>
            <p:nvPr/>
          </p:nvSpPr>
          <p:spPr bwMode="auto">
            <a:xfrm>
              <a:off x="8771115" y="3496888"/>
              <a:ext cx="155957" cy="155957"/>
            </a:xfrm>
            <a:prstGeom prst="ellipse">
              <a:avLst/>
            </a:pr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ṧlîḑê"/>
            <p:cNvSpPr/>
            <p:nvPr/>
          </p:nvSpPr>
          <p:spPr bwMode="auto">
            <a:xfrm>
              <a:off x="8820653" y="3135435"/>
              <a:ext cx="469705" cy="467870"/>
            </a:xfrm>
            <a:custGeom>
              <a:avLst/>
              <a:gdLst>
                <a:gd name="T0" fmla="*/ 216 w 256"/>
                <a:gd name="T1" fmla="*/ 40 h 255"/>
                <a:gd name="T2" fmla="*/ 208 w 256"/>
                <a:gd name="T3" fmla="*/ 0 h 255"/>
                <a:gd name="T4" fmla="*/ 152 w 256"/>
                <a:gd name="T5" fmla="*/ 56 h 255"/>
                <a:gd name="T6" fmla="*/ 158 w 256"/>
                <a:gd name="T7" fmla="*/ 85 h 255"/>
                <a:gd name="T8" fmla="*/ 150 w 256"/>
                <a:gd name="T9" fmla="*/ 94 h 255"/>
                <a:gd name="T10" fmla="*/ 150 w 256"/>
                <a:gd name="T11" fmla="*/ 94 h 255"/>
                <a:gd name="T12" fmla="*/ 19 w 256"/>
                <a:gd name="T13" fmla="*/ 226 h 255"/>
                <a:gd name="T14" fmla="*/ 19 w 256"/>
                <a:gd name="T15" fmla="*/ 210 h 255"/>
                <a:gd name="T16" fmla="*/ 0 w 256"/>
                <a:gd name="T17" fmla="*/ 210 h 255"/>
                <a:gd name="T18" fmla="*/ 0 w 256"/>
                <a:gd name="T19" fmla="*/ 255 h 255"/>
                <a:gd name="T20" fmla="*/ 46 w 256"/>
                <a:gd name="T21" fmla="*/ 255 h 255"/>
                <a:gd name="T22" fmla="*/ 46 w 256"/>
                <a:gd name="T23" fmla="*/ 237 h 255"/>
                <a:gd name="T24" fmla="*/ 29 w 256"/>
                <a:gd name="T25" fmla="*/ 237 h 255"/>
                <a:gd name="T26" fmla="*/ 162 w 256"/>
                <a:gd name="T27" fmla="*/ 106 h 255"/>
                <a:gd name="T28" fmla="*/ 162 w 256"/>
                <a:gd name="T29" fmla="*/ 106 h 255"/>
                <a:gd name="T30" fmla="*/ 170 w 256"/>
                <a:gd name="T31" fmla="*/ 98 h 255"/>
                <a:gd name="T32" fmla="*/ 199 w 256"/>
                <a:gd name="T33" fmla="*/ 104 h 255"/>
                <a:gd name="T34" fmla="*/ 256 w 256"/>
                <a:gd name="T35" fmla="*/ 48 h 255"/>
                <a:gd name="T36" fmla="*/ 216 w 256"/>
                <a:gd name="T37" fmla="*/ 40 h 255"/>
                <a:gd name="T38" fmla="*/ 170 w 256"/>
                <a:gd name="T39" fmla="*/ 62 h 255"/>
                <a:gd name="T40" fmla="*/ 197 w 256"/>
                <a:gd name="T41" fmla="*/ 33 h 255"/>
                <a:gd name="T42" fmla="*/ 199 w 256"/>
                <a:gd name="T43" fmla="*/ 44 h 255"/>
                <a:gd name="T44" fmla="*/ 172 w 256"/>
                <a:gd name="T45" fmla="*/ 73 h 255"/>
                <a:gd name="T46" fmla="*/ 170 w 256"/>
                <a:gd name="T47" fmla="*/ 62 h 255"/>
                <a:gd name="T48" fmla="*/ 193 w 256"/>
                <a:gd name="T49" fmla="*/ 85 h 255"/>
                <a:gd name="T50" fmla="*/ 183 w 256"/>
                <a:gd name="T51" fmla="*/ 83 h 255"/>
                <a:gd name="T52" fmla="*/ 212 w 256"/>
                <a:gd name="T53" fmla="*/ 56 h 255"/>
                <a:gd name="T54" fmla="*/ 222 w 256"/>
                <a:gd name="T55" fmla="*/ 58 h 255"/>
                <a:gd name="T56" fmla="*/ 193 w 256"/>
                <a:gd name="T57" fmla="*/ 8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6" h="255">
                  <a:moveTo>
                    <a:pt x="216" y="40"/>
                  </a:moveTo>
                  <a:lnTo>
                    <a:pt x="208" y="0"/>
                  </a:lnTo>
                  <a:lnTo>
                    <a:pt x="152" y="56"/>
                  </a:lnTo>
                  <a:lnTo>
                    <a:pt x="158" y="85"/>
                  </a:lnTo>
                  <a:lnTo>
                    <a:pt x="150" y="94"/>
                  </a:lnTo>
                  <a:lnTo>
                    <a:pt x="150" y="94"/>
                  </a:lnTo>
                  <a:lnTo>
                    <a:pt x="19" y="226"/>
                  </a:lnTo>
                  <a:lnTo>
                    <a:pt x="19" y="210"/>
                  </a:lnTo>
                  <a:lnTo>
                    <a:pt x="0" y="210"/>
                  </a:lnTo>
                  <a:lnTo>
                    <a:pt x="0" y="255"/>
                  </a:lnTo>
                  <a:lnTo>
                    <a:pt x="46" y="255"/>
                  </a:lnTo>
                  <a:lnTo>
                    <a:pt x="46" y="237"/>
                  </a:lnTo>
                  <a:lnTo>
                    <a:pt x="29" y="237"/>
                  </a:lnTo>
                  <a:lnTo>
                    <a:pt x="162" y="106"/>
                  </a:lnTo>
                  <a:lnTo>
                    <a:pt x="162" y="106"/>
                  </a:lnTo>
                  <a:lnTo>
                    <a:pt x="170" y="98"/>
                  </a:lnTo>
                  <a:lnTo>
                    <a:pt x="199" y="104"/>
                  </a:lnTo>
                  <a:lnTo>
                    <a:pt x="256" y="48"/>
                  </a:lnTo>
                  <a:lnTo>
                    <a:pt x="216" y="40"/>
                  </a:lnTo>
                  <a:close/>
                  <a:moveTo>
                    <a:pt x="170" y="62"/>
                  </a:moveTo>
                  <a:lnTo>
                    <a:pt x="197" y="33"/>
                  </a:lnTo>
                  <a:lnTo>
                    <a:pt x="199" y="44"/>
                  </a:lnTo>
                  <a:lnTo>
                    <a:pt x="172" y="73"/>
                  </a:lnTo>
                  <a:lnTo>
                    <a:pt x="170" y="62"/>
                  </a:lnTo>
                  <a:close/>
                  <a:moveTo>
                    <a:pt x="193" y="85"/>
                  </a:moveTo>
                  <a:lnTo>
                    <a:pt x="183" y="83"/>
                  </a:lnTo>
                  <a:lnTo>
                    <a:pt x="212" y="56"/>
                  </a:lnTo>
                  <a:lnTo>
                    <a:pt x="222" y="58"/>
                  </a:lnTo>
                  <a:lnTo>
                    <a:pt x="193" y="85"/>
                  </a:lnTo>
                  <a:close/>
                </a:path>
              </a:pathLst>
            </a:cu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ṩ1íḓé"/>
            <p:cNvSpPr/>
            <p:nvPr/>
          </p:nvSpPr>
          <p:spPr bwMode="auto">
            <a:xfrm>
              <a:off x="8945419" y="3375792"/>
              <a:ext cx="104583" cy="102748"/>
            </a:xfrm>
            <a:custGeom>
              <a:avLst/>
              <a:gdLst>
                <a:gd name="T0" fmla="*/ 21 w 27"/>
                <a:gd name="T1" fmla="*/ 0 h 27"/>
                <a:gd name="T2" fmla="*/ 0 w 27"/>
                <a:gd name="T3" fmla="*/ 21 h 27"/>
                <a:gd name="T4" fmla="*/ 6 w 27"/>
                <a:gd name="T5" fmla="*/ 27 h 27"/>
                <a:gd name="T6" fmla="*/ 27 w 27"/>
                <a:gd name="T7" fmla="*/ 6 h 27"/>
                <a:gd name="T8" fmla="*/ 21 w 27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7">
                  <a:moveTo>
                    <a:pt x="21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" y="22"/>
                    <a:pt x="5" y="24"/>
                    <a:pt x="6" y="2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5" y="4"/>
                    <a:pt x="23" y="2"/>
                    <a:pt x="21" y="0"/>
                  </a:cubicBezTo>
                  <a:close/>
                </a:path>
              </a:pathLst>
            </a:custGeom>
            <a:solidFill>
              <a:srgbClr val="F9F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Sļídè"/>
            <p:cNvSpPr/>
            <p:nvPr/>
          </p:nvSpPr>
          <p:spPr bwMode="auto">
            <a:xfrm>
              <a:off x="8820653" y="3509731"/>
              <a:ext cx="95409" cy="93575"/>
            </a:xfrm>
            <a:custGeom>
              <a:avLst/>
              <a:gdLst>
                <a:gd name="T0" fmla="*/ 19 w 25"/>
                <a:gd name="T1" fmla="*/ 0 h 25"/>
                <a:gd name="T2" fmla="*/ 9 w 25"/>
                <a:gd name="T3" fmla="*/ 11 h 25"/>
                <a:gd name="T4" fmla="*/ 9 w 25"/>
                <a:gd name="T5" fmla="*/ 3 h 25"/>
                <a:gd name="T6" fmla="*/ 0 w 25"/>
                <a:gd name="T7" fmla="*/ 3 h 25"/>
                <a:gd name="T8" fmla="*/ 0 w 25"/>
                <a:gd name="T9" fmla="*/ 25 h 25"/>
                <a:gd name="T10" fmla="*/ 22 w 25"/>
                <a:gd name="T11" fmla="*/ 25 h 25"/>
                <a:gd name="T12" fmla="*/ 22 w 25"/>
                <a:gd name="T13" fmla="*/ 16 h 25"/>
                <a:gd name="T14" fmla="*/ 14 w 25"/>
                <a:gd name="T15" fmla="*/ 16 h 25"/>
                <a:gd name="T16" fmla="*/ 25 w 25"/>
                <a:gd name="T17" fmla="*/ 6 h 25"/>
                <a:gd name="T18" fmla="*/ 19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9" y="0"/>
                  </a:moveTo>
                  <a:cubicBezTo>
                    <a:pt x="9" y="11"/>
                    <a:pt x="9" y="11"/>
                    <a:pt x="9" y="1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3" y="4"/>
                    <a:pt x="21" y="2"/>
                    <a:pt x="19" y="0"/>
                  </a:cubicBezTo>
                  <a:close/>
                </a:path>
              </a:pathLst>
            </a:custGeom>
            <a:solidFill>
              <a:srgbClr val="F9F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îśľïdê"/>
            <p:cNvSpPr/>
            <p:nvPr/>
          </p:nvSpPr>
          <p:spPr bwMode="auto">
            <a:xfrm>
              <a:off x="7512453" y="1375878"/>
              <a:ext cx="976105" cy="456862"/>
            </a:xfrm>
            <a:custGeom>
              <a:avLst/>
              <a:gdLst>
                <a:gd name="T0" fmla="*/ 28 w 256"/>
                <a:gd name="T1" fmla="*/ 64 h 120"/>
                <a:gd name="T2" fmla="*/ 33 w 256"/>
                <a:gd name="T3" fmla="*/ 64 h 120"/>
                <a:gd name="T4" fmla="*/ 33 w 256"/>
                <a:gd name="T5" fmla="*/ 62 h 120"/>
                <a:gd name="T6" fmla="*/ 33 w 256"/>
                <a:gd name="T7" fmla="*/ 62 h 120"/>
                <a:gd name="T8" fmla="*/ 63 w 256"/>
                <a:gd name="T9" fmla="*/ 33 h 120"/>
                <a:gd name="T10" fmla="*/ 86 w 256"/>
                <a:gd name="T11" fmla="*/ 33 h 120"/>
                <a:gd name="T12" fmla="*/ 86 w 256"/>
                <a:gd name="T13" fmla="*/ 31 h 120"/>
                <a:gd name="T14" fmla="*/ 117 w 256"/>
                <a:gd name="T15" fmla="*/ 0 h 120"/>
                <a:gd name="T16" fmla="*/ 123 w 256"/>
                <a:gd name="T17" fmla="*/ 0 h 120"/>
                <a:gd name="T18" fmla="*/ 154 w 256"/>
                <a:gd name="T19" fmla="*/ 31 h 120"/>
                <a:gd name="T20" fmla="*/ 154 w 256"/>
                <a:gd name="T21" fmla="*/ 33 h 120"/>
                <a:gd name="T22" fmla="*/ 184 w 256"/>
                <a:gd name="T23" fmla="*/ 33 h 120"/>
                <a:gd name="T24" fmla="*/ 213 w 256"/>
                <a:gd name="T25" fmla="*/ 62 h 120"/>
                <a:gd name="T26" fmla="*/ 213 w 256"/>
                <a:gd name="T27" fmla="*/ 62 h 120"/>
                <a:gd name="T28" fmla="*/ 213 w 256"/>
                <a:gd name="T29" fmla="*/ 64 h 120"/>
                <a:gd name="T30" fmla="*/ 228 w 256"/>
                <a:gd name="T31" fmla="*/ 64 h 120"/>
                <a:gd name="T32" fmla="*/ 256 w 256"/>
                <a:gd name="T33" fmla="*/ 92 h 120"/>
                <a:gd name="T34" fmla="*/ 228 w 256"/>
                <a:gd name="T35" fmla="*/ 120 h 120"/>
                <a:gd name="T36" fmla="*/ 28 w 256"/>
                <a:gd name="T37" fmla="*/ 120 h 120"/>
                <a:gd name="T38" fmla="*/ 0 w 256"/>
                <a:gd name="T39" fmla="*/ 92 h 120"/>
                <a:gd name="T40" fmla="*/ 28 w 256"/>
                <a:gd name="T41" fmla="*/ 6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6" h="120">
                  <a:moveTo>
                    <a:pt x="28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3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46"/>
                    <a:pt x="47" y="33"/>
                    <a:pt x="63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2"/>
                    <a:pt x="86" y="32"/>
                    <a:pt x="86" y="31"/>
                  </a:cubicBezTo>
                  <a:cubicBezTo>
                    <a:pt x="86" y="14"/>
                    <a:pt x="100" y="0"/>
                    <a:pt x="11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40" y="0"/>
                    <a:pt x="154" y="14"/>
                    <a:pt x="154" y="31"/>
                  </a:cubicBezTo>
                  <a:cubicBezTo>
                    <a:pt x="154" y="32"/>
                    <a:pt x="154" y="32"/>
                    <a:pt x="154" y="33"/>
                  </a:cubicBezTo>
                  <a:cubicBezTo>
                    <a:pt x="184" y="33"/>
                    <a:pt x="184" y="33"/>
                    <a:pt x="184" y="33"/>
                  </a:cubicBezTo>
                  <a:cubicBezTo>
                    <a:pt x="200" y="33"/>
                    <a:pt x="213" y="46"/>
                    <a:pt x="213" y="62"/>
                  </a:cubicBezTo>
                  <a:cubicBezTo>
                    <a:pt x="213" y="62"/>
                    <a:pt x="213" y="62"/>
                    <a:pt x="213" y="62"/>
                  </a:cubicBezTo>
                  <a:cubicBezTo>
                    <a:pt x="213" y="63"/>
                    <a:pt x="213" y="64"/>
                    <a:pt x="213" y="64"/>
                  </a:cubicBezTo>
                  <a:cubicBezTo>
                    <a:pt x="228" y="64"/>
                    <a:pt x="228" y="64"/>
                    <a:pt x="228" y="64"/>
                  </a:cubicBezTo>
                  <a:cubicBezTo>
                    <a:pt x="244" y="64"/>
                    <a:pt x="256" y="77"/>
                    <a:pt x="256" y="92"/>
                  </a:cubicBezTo>
                  <a:cubicBezTo>
                    <a:pt x="256" y="107"/>
                    <a:pt x="244" y="120"/>
                    <a:pt x="228" y="120"/>
                  </a:cubicBezTo>
                  <a:cubicBezTo>
                    <a:pt x="28" y="120"/>
                    <a:pt x="28" y="120"/>
                    <a:pt x="28" y="120"/>
                  </a:cubicBezTo>
                  <a:cubicBezTo>
                    <a:pt x="13" y="120"/>
                    <a:pt x="0" y="107"/>
                    <a:pt x="0" y="92"/>
                  </a:cubicBezTo>
                  <a:cubicBezTo>
                    <a:pt x="0" y="77"/>
                    <a:pt x="13" y="64"/>
                    <a:pt x="28" y="64"/>
                  </a:cubicBezTo>
                  <a:close/>
                </a:path>
              </a:pathLst>
            </a:cu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ṩḻîde"/>
            <p:cNvSpPr/>
            <p:nvPr/>
          </p:nvSpPr>
          <p:spPr bwMode="auto">
            <a:xfrm>
              <a:off x="3463086" y="2159330"/>
              <a:ext cx="678870" cy="317418"/>
            </a:xfrm>
            <a:custGeom>
              <a:avLst/>
              <a:gdLst>
                <a:gd name="T0" fmla="*/ 158 w 178"/>
                <a:gd name="T1" fmla="*/ 45 h 83"/>
                <a:gd name="T2" fmla="*/ 155 w 178"/>
                <a:gd name="T3" fmla="*/ 45 h 83"/>
                <a:gd name="T4" fmla="*/ 155 w 178"/>
                <a:gd name="T5" fmla="*/ 43 h 83"/>
                <a:gd name="T6" fmla="*/ 155 w 178"/>
                <a:gd name="T7" fmla="*/ 43 h 83"/>
                <a:gd name="T8" fmla="*/ 134 w 178"/>
                <a:gd name="T9" fmla="*/ 23 h 83"/>
                <a:gd name="T10" fmla="*/ 118 w 178"/>
                <a:gd name="T11" fmla="*/ 23 h 83"/>
                <a:gd name="T12" fmla="*/ 118 w 178"/>
                <a:gd name="T13" fmla="*/ 22 h 83"/>
                <a:gd name="T14" fmla="*/ 97 w 178"/>
                <a:gd name="T15" fmla="*/ 0 h 83"/>
                <a:gd name="T16" fmla="*/ 92 w 178"/>
                <a:gd name="T17" fmla="*/ 0 h 83"/>
                <a:gd name="T18" fmla="*/ 71 w 178"/>
                <a:gd name="T19" fmla="*/ 22 h 83"/>
                <a:gd name="T20" fmla="*/ 71 w 178"/>
                <a:gd name="T21" fmla="*/ 23 h 83"/>
                <a:gd name="T22" fmla="*/ 51 w 178"/>
                <a:gd name="T23" fmla="*/ 23 h 83"/>
                <a:gd name="T24" fmla="*/ 30 w 178"/>
                <a:gd name="T25" fmla="*/ 43 h 83"/>
                <a:gd name="T26" fmla="*/ 30 w 178"/>
                <a:gd name="T27" fmla="*/ 43 h 83"/>
                <a:gd name="T28" fmla="*/ 30 w 178"/>
                <a:gd name="T29" fmla="*/ 45 h 83"/>
                <a:gd name="T30" fmla="*/ 20 w 178"/>
                <a:gd name="T31" fmla="*/ 45 h 83"/>
                <a:gd name="T32" fmla="*/ 0 w 178"/>
                <a:gd name="T33" fmla="*/ 64 h 83"/>
                <a:gd name="T34" fmla="*/ 20 w 178"/>
                <a:gd name="T35" fmla="*/ 83 h 83"/>
                <a:gd name="T36" fmla="*/ 158 w 178"/>
                <a:gd name="T37" fmla="*/ 83 h 83"/>
                <a:gd name="T38" fmla="*/ 178 w 178"/>
                <a:gd name="T39" fmla="*/ 64 h 83"/>
                <a:gd name="T40" fmla="*/ 158 w 178"/>
                <a:gd name="T41" fmla="*/ 4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8" h="83">
                  <a:moveTo>
                    <a:pt x="158" y="45"/>
                  </a:moveTo>
                  <a:cubicBezTo>
                    <a:pt x="155" y="45"/>
                    <a:pt x="155" y="45"/>
                    <a:pt x="155" y="45"/>
                  </a:cubicBezTo>
                  <a:cubicBezTo>
                    <a:pt x="155" y="44"/>
                    <a:pt x="155" y="44"/>
                    <a:pt x="155" y="43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55" y="32"/>
                    <a:pt x="146" y="23"/>
                    <a:pt x="134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8" y="10"/>
                    <a:pt x="108" y="0"/>
                    <a:pt x="97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0" y="0"/>
                    <a:pt x="71" y="10"/>
                    <a:pt x="71" y="22"/>
                  </a:cubicBezTo>
                  <a:cubicBezTo>
                    <a:pt x="71" y="22"/>
                    <a:pt x="71" y="22"/>
                    <a:pt x="7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39" y="23"/>
                    <a:pt x="30" y="32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4"/>
                    <a:pt x="30" y="44"/>
                    <a:pt x="3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9" y="45"/>
                    <a:pt x="0" y="53"/>
                    <a:pt x="0" y="64"/>
                  </a:cubicBezTo>
                  <a:cubicBezTo>
                    <a:pt x="0" y="75"/>
                    <a:pt x="9" y="83"/>
                    <a:pt x="20" y="83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9" y="83"/>
                    <a:pt x="178" y="75"/>
                    <a:pt x="178" y="64"/>
                  </a:cubicBezTo>
                  <a:cubicBezTo>
                    <a:pt x="178" y="53"/>
                    <a:pt x="169" y="45"/>
                    <a:pt x="158" y="45"/>
                  </a:cubicBezTo>
                  <a:close/>
                </a:path>
              </a:pathLst>
            </a:cu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ṡľïḑê"/>
            <p:cNvSpPr/>
            <p:nvPr/>
          </p:nvSpPr>
          <p:spPr bwMode="auto">
            <a:xfrm>
              <a:off x="3077781" y="2902418"/>
              <a:ext cx="420166" cy="537592"/>
            </a:xfrm>
            <a:custGeom>
              <a:avLst/>
              <a:gdLst>
                <a:gd name="T0" fmla="*/ 81 w 110"/>
                <a:gd name="T1" fmla="*/ 54 h 141"/>
                <a:gd name="T2" fmla="*/ 103 w 110"/>
                <a:gd name="T3" fmla="*/ 14 h 141"/>
                <a:gd name="T4" fmla="*/ 91 w 110"/>
                <a:gd name="T5" fmla="*/ 14 h 141"/>
                <a:gd name="T6" fmla="*/ 72 w 110"/>
                <a:gd name="T7" fmla="*/ 45 h 141"/>
                <a:gd name="T8" fmla="*/ 57 w 110"/>
                <a:gd name="T9" fmla="*/ 70 h 141"/>
                <a:gd name="T10" fmla="*/ 56 w 110"/>
                <a:gd name="T11" fmla="*/ 70 h 141"/>
                <a:gd name="T12" fmla="*/ 57 w 110"/>
                <a:gd name="T13" fmla="*/ 70 h 141"/>
                <a:gd name="T14" fmla="*/ 56 w 110"/>
                <a:gd name="T15" fmla="*/ 71 h 141"/>
                <a:gd name="T16" fmla="*/ 57 w 110"/>
                <a:gd name="T17" fmla="*/ 71 h 141"/>
                <a:gd name="T18" fmla="*/ 72 w 110"/>
                <a:gd name="T19" fmla="*/ 95 h 141"/>
                <a:gd name="T20" fmla="*/ 91 w 110"/>
                <a:gd name="T21" fmla="*/ 127 h 141"/>
                <a:gd name="T22" fmla="*/ 103 w 110"/>
                <a:gd name="T23" fmla="*/ 127 h 141"/>
                <a:gd name="T24" fmla="*/ 81 w 110"/>
                <a:gd name="T25" fmla="*/ 87 h 141"/>
                <a:gd name="T26" fmla="*/ 69 w 110"/>
                <a:gd name="T27" fmla="*/ 70 h 141"/>
                <a:gd name="T28" fmla="*/ 81 w 110"/>
                <a:gd name="T29" fmla="*/ 54 h 141"/>
                <a:gd name="T30" fmla="*/ 30 w 110"/>
                <a:gd name="T31" fmla="*/ 87 h 141"/>
                <a:gd name="T32" fmla="*/ 8 w 110"/>
                <a:gd name="T33" fmla="*/ 127 h 141"/>
                <a:gd name="T34" fmla="*/ 20 w 110"/>
                <a:gd name="T35" fmla="*/ 127 h 141"/>
                <a:gd name="T36" fmla="*/ 39 w 110"/>
                <a:gd name="T37" fmla="*/ 95 h 141"/>
                <a:gd name="T38" fmla="*/ 55 w 110"/>
                <a:gd name="T39" fmla="*/ 71 h 141"/>
                <a:gd name="T40" fmla="*/ 55 w 110"/>
                <a:gd name="T41" fmla="*/ 71 h 141"/>
                <a:gd name="T42" fmla="*/ 55 w 110"/>
                <a:gd name="T43" fmla="*/ 70 h 141"/>
                <a:gd name="T44" fmla="*/ 55 w 110"/>
                <a:gd name="T45" fmla="*/ 70 h 141"/>
                <a:gd name="T46" fmla="*/ 55 w 110"/>
                <a:gd name="T47" fmla="*/ 70 h 141"/>
                <a:gd name="T48" fmla="*/ 39 w 110"/>
                <a:gd name="T49" fmla="*/ 45 h 141"/>
                <a:gd name="T50" fmla="*/ 20 w 110"/>
                <a:gd name="T51" fmla="*/ 14 h 141"/>
                <a:gd name="T52" fmla="*/ 8 w 110"/>
                <a:gd name="T53" fmla="*/ 14 h 141"/>
                <a:gd name="T54" fmla="*/ 30 w 110"/>
                <a:gd name="T55" fmla="*/ 54 h 141"/>
                <a:gd name="T56" fmla="*/ 42 w 110"/>
                <a:gd name="T57" fmla="*/ 70 h 141"/>
                <a:gd name="T58" fmla="*/ 30 w 110"/>
                <a:gd name="T59" fmla="*/ 87 h 141"/>
                <a:gd name="T60" fmla="*/ 0 w 110"/>
                <a:gd name="T61" fmla="*/ 141 h 141"/>
                <a:gd name="T62" fmla="*/ 110 w 110"/>
                <a:gd name="T63" fmla="*/ 141 h 141"/>
                <a:gd name="T64" fmla="*/ 110 w 110"/>
                <a:gd name="T65" fmla="*/ 129 h 141"/>
                <a:gd name="T66" fmla="*/ 0 w 110"/>
                <a:gd name="T67" fmla="*/ 129 h 141"/>
                <a:gd name="T68" fmla="*/ 0 w 110"/>
                <a:gd name="T69" fmla="*/ 141 h 141"/>
                <a:gd name="T70" fmla="*/ 0 w 110"/>
                <a:gd name="T71" fmla="*/ 0 h 141"/>
                <a:gd name="T72" fmla="*/ 0 w 110"/>
                <a:gd name="T73" fmla="*/ 12 h 141"/>
                <a:gd name="T74" fmla="*/ 110 w 110"/>
                <a:gd name="T75" fmla="*/ 12 h 141"/>
                <a:gd name="T76" fmla="*/ 110 w 110"/>
                <a:gd name="T77" fmla="*/ 0 h 141"/>
                <a:gd name="T78" fmla="*/ 0 w 110"/>
                <a:gd name="T79" fmla="*/ 0 h 141"/>
                <a:gd name="T80" fmla="*/ 45 w 110"/>
                <a:gd name="T81" fmla="*/ 49 h 141"/>
                <a:gd name="T82" fmla="*/ 54 w 110"/>
                <a:gd name="T83" fmla="*/ 61 h 141"/>
                <a:gd name="T84" fmla="*/ 56 w 110"/>
                <a:gd name="T85" fmla="*/ 65 h 141"/>
                <a:gd name="T86" fmla="*/ 56 w 110"/>
                <a:gd name="T87" fmla="*/ 64 h 141"/>
                <a:gd name="T88" fmla="*/ 59 w 110"/>
                <a:gd name="T89" fmla="*/ 57 h 141"/>
                <a:gd name="T90" fmla="*/ 68 w 110"/>
                <a:gd name="T91" fmla="*/ 47 h 141"/>
                <a:gd name="T92" fmla="*/ 79 w 110"/>
                <a:gd name="T93" fmla="*/ 36 h 141"/>
                <a:gd name="T94" fmla="*/ 33 w 110"/>
                <a:gd name="T95" fmla="*/ 36 h 141"/>
                <a:gd name="T96" fmla="*/ 45 w 110"/>
                <a:gd name="T97" fmla="*/ 49 h 141"/>
                <a:gd name="T98" fmla="*/ 56 w 110"/>
                <a:gd name="T99" fmla="*/ 75 h 141"/>
                <a:gd name="T100" fmla="*/ 56 w 110"/>
                <a:gd name="T101" fmla="*/ 75 h 141"/>
                <a:gd name="T102" fmla="*/ 56 w 110"/>
                <a:gd name="T103" fmla="*/ 75 h 141"/>
                <a:gd name="T104" fmla="*/ 56 w 110"/>
                <a:gd name="T105" fmla="*/ 75 h 141"/>
                <a:gd name="T106" fmla="*/ 24 w 110"/>
                <a:gd name="T107" fmla="*/ 117 h 141"/>
                <a:gd name="T108" fmla="*/ 23 w 110"/>
                <a:gd name="T109" fmla="*/ 127 h 141"/>
                <a:gd name="T110" fmla="*/ 88 w 110"/>
                <a:gd name="T111" fmla="*/ 127 h 141"/>
                <a:gd name="T112" fmla="*/ 87 w 110"/>
                <a:gd name="T113" fmla="*/ 117 h 141"/>
                <a:gd name="T114" fmla="*/ 87 w 110"/>
                <a:gd name="T115" fmla="*/ 117 h 141"/>
                <a:gd name="T116" fmla="*/ 87 w 110"/>
                <a:gd name="T117" fmla="*/ 117 h 141"/>
                <a:gd name="T118" fmla="*/ 56 w 110"/>
                <a:gd name="T119" fmla="*/ 75 h 141"/>
                <a:gd name="T120" fmla="*/ 56 w 110"/>
                <a:gd name="T121" fmla="*/ 7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0" h="141">
                  <a:moveTo>
                    <a:pt x="81" y="54"/>
                  </a:moveTo>
                  <a:cubicBezTo>
                    <a:pt x="91" y="44"/>
                    <a:pt x="103" y="32"/>
                    <a:pt x="103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27"/>
                    <a:pt x="81" y="36"/>
                    <a:pt x="72" y="45"/>
                  </a:cubicBezTo>
                  <a:cubicBezTo>
                    <a:pt x="64" y="53"/>
                    <a:pt x="57" y="60"/>
                    <a:pt x="57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7" y="70"/>
                    <a:pt x="57" y="70"/>
                  </a:cubicBezTo>
                  <a:cubicBezTo>
                    <a:pt x="57" y="70"/>
                    <a:pt x="56" y="71"/>
                    <a:pt x="56" y="71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7" y="80"/>
                    <a:pt x="64" y="88"/>
                    <a:pt x="72" y="95"/>
                  </a:cubicBezTo>
                  <a:cubicBezTo>
                    <a:pt x="81" y="105"/>
                    <a:pt x="91" y="114"/>
                    <a:pt x="91" y="127"/>
                  </a:cubicBezTo>
                  <a:cubicBezTo>
                    <a:pt x="103" y="127"/>
                    <a:pt x="103" y="127"/>
                    <a:pt x="103" y="127"/>
                  </a:cubicBezTo>
                  <a:cubicBezTo>
                    <a:pt x="103" y="109"/>
                    <a:pt x="91" y="97"/>
                    <a:pt x="81" y="87"/>
                  </a:cubicBezTo>
                  <a:cubicBezTo>
                    <a:pt x="75" y="81"/>
                    <a:pt x="69" y="75"/>
                    <a:pt x="69" y="70"/>
                  </a:cubicBezTo>
                  <a:cubicBezTo>
                    <a:pt x="69" y="65"/>
                    <a:pt x="75" y="60"/>
                    <a:pt x="81" y="54"/>
                  </a:cubicBezTo>
                  <a:close/>
                  <a:moveTo>
                    <a:pt x="30" y="87"/>
                  </a:moveTo>
                  <a:cubicBezTo>
                    <a:pt x="20" y="97"/>
                    <a:pt x="8" y="109"/>
                    <a:pt x="8" y="127"/>
                  </a:cubicBezTo>
                  <a:cubicBezTo>
                    <a:pt x="20" y="127"/>
                    <a:pt x="20" y="127"/>
                    <a:pt x="20" y="127"/>
                  </a:cubicBezTo>
                  <a:cubicBezTo>
                    <a:pt x="20" y="114"/>
                    <a:pt x="30" y="105"/>
                    <a:pt x="39" y="95"/>
                  </a:cubicBezTo>
                  <a:cubicBezTo>
                    <a:pt x="47" y="88"/>
                    <a:pt x="54" y="80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4" y="60"/>
                    <a:pt x="47" y="53"/>
                    <a:pt x="39" y="45"/>
                  </a:cubicBezTo>
                  <a:cubicBezTo>
                    <a:pt x="30" y="36"/>
                    <a:pt x="20" y="27"/>
                    <a:pt x="20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32"/>
                    <a:pt x="20" y="44"/>
                    <a:pt x="30" y="54"/>
                  </a:cubicBezTo>
                  <a:cubicBezTo>
                    <a:pt x="36" y="60"/>
                    <a:pt x="42" y="65"/>
                    <a:pt x="42" y="70"/>
                  </a:cubicBezTo>
                  <a:cubicBezTo>
                    <a:pt x="42" y="75"/>
                    <a:pt x="36" y="81"/>
                    <a:pt x="30" y="87"/>
                  </a:cubicBezTo>
                  <a:close/>
                  <a:moveTo>
                    <a:pt x="0" y="141"/>
                  </a:moveTo>
                  <a:cubicBezTo>
                    <a:pt x="110" y="141"/>
                    <a:pt x="110" y="141"/>
                    <a:pt x="110" y="141"/>
                  </a:cubicBezTo>
                  <a:cubicBezTo>
                    <a:pt x="110" y="129"/>
                    <a:pt x="110" y="129"/>
                    <a:pt x="110" y="129"/>
                  </a:cubicBezTo>
                  <a:cubicBezTo>
                    <a:pt x="0" y="129"/>
                    <a:pt x="0" y="129"/>
                    <a:pt x="0" y="129"/>
                  </a:cubicBezTo>
                  <a:lnTo>
                    <a:pt x="0" y="141"/>
                  </a:lnTo>
                  <a:close/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0" y="0"/>
                  </a:lnTo>
                  <a:close/>
                  <a:moveTo>
                    <a:pt x="45" y="49"/>
                  </a:moveTo>
                  <a:cubicBezTo>
                    <a:pt x="48" y="53"/>
                    <a:pt x="52" y="56"/>
                    <a:pt x="54" y="61"/>
                  </a:cubicBezTo>
                  <a:cubicBezTo>
                    <a:pt x="55" y="63"/>
                    <a:pt x="55" y="64"/>
                    <a:pt x="56" y="65"/>
                  </a:cubicBezTo>
                  <a:cubicBezTo>
                    <a:pt x="56" y="65"/>
                    <a:pt x="56" y="64"/>
                    <a:pt x="56" y="64"/>
                  </a:cubicBezTo>
                  <a:cubicBezTo>
                    <a:pt x="57" y="61"/>
                    <a:pt x="58" y="59"/>
                    <a:pt x="59" y="57"/>
                  </a:cubicBezTo>
                  <a:cubicBezTo>
                    <a:pt x="62" y="54"/>
                    <a:pt x="65" y="50"/>
                    <a:pt x="68" y="47"/>
                  </a:cubicBezTo>
                  <a:cubicBezTo>
                    <a:pt x="72" y="44"/>
                    <a:pt x="75" y="40"/>
                    <a:pt x="79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6" y="41"/>
                    <a:pt x="41" y="45"/>
                    <a:pt x="45" y="49"/>
                  </a:cubicBezTo>
                  <a:close/>
                  <a:moveTo>
                    <a:pt x="56" y="75"/>
                  </a:move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lose/>
                  <a:moveTo>
                    <a:pt x="56" y="75"/>
                  </a:moveTo>
                  <a:cubicBezTo>
                    <a:pt x="56" y="103"/>
                    <a:pt x="28" y="115"/>
                    <a:pt x="24" y="117"/>
                  </a:cubicBezTo>
                  <a:cubicBezTo>
                    <a:pt x="24" y="119"/>
                    <a:pt x="23" y="122"/>
                    <a:pt x="23" y="127"/>
                  </a:cubicBezTo>
                  <a:cubicBezTo>
                    <a:pt x="88" y="127"/>
                    <a:pt x="88" y="127"/>
                    <a:pt x="88" y="127"/>
                  </a:cubicBezTo>
                  <a:cubicBezTo>
                    <a:pt x="88" y="119"/>
                    <a:pt x="88" y="118"/>
                    <a:pt x="87" y="117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7" y="117"/>
                    <a:pt x="56" y="10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lose/>
                </a:path>
              </a:pathLst>
            </a:cu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îš1îďé"/>
            <p:cNvSpPr/>
            <p:nvPr/>
          </p:nvSpPr>
          <p:spPr bwMode="auto">
            <a:xfrm>
              <a:off x="2964025" y="3950079"/>
              <a:ext cx="864184" cy="1776070"/>
            </a:xfrm>
            <a:custGeom>
              <a:avLst/>
              <a:gdLst>
                <a:gd name="T0" fmla="*/ 227 w 227"/>
                <a:gd name="T1" fmla="*/ 466 h 466"/>
                <a:gd name="T2" fmla="*/ 34 w 227"/>
                <a:gd name="T3" fmla="*/ 387 h 466"/>
                <a:gd name="T4" fmla="*/ 19 w 227"/>
                <a:gd name="T5" fmla="*/ 353 h 466"/>
                <a:gd name="T6" fmla="*/ 34 w 227"/>
                <a:gd name="T7" fmla="*/ 320 h 466"/>
                <a:gd name="T8" fmla="*/ 62 w 227"/>
                <a:gd name="T9" fmla="*/ 309 h 466"/>
                <a:gd name="T10" fmla="*/ 65 w 227"/>
                <a:gd name="T11" fmla="*/ 285 h 466"/>
                <a:gd name="T12" fmla="*/ 49 w 227"/>
                <a:gd name="T13" fmla="*/ 265 h 466"/>
                <a:gd name="T14" fmla="*/ 8 w 227"/>
                <a:gd name="T15" fmla="*/ 217 h 466"/>
                <a:gd name="T16" fmla="*/ 25 w 227"/>
                <a:gd name="T17" fmla="*/ 163 h 466"/>
                <a:gd name="T18" fmla="*/ 60 w 227"/>
                <a:gd name="T19" fmla="*/ 152 h 466"/>
                <a:gd name="T20" fmla="*/ 61 w 227"/>
                <a:gd name="T21" fmla="*/ 120 h 466"/>
                <a:gd name="T22" fmla="*/ 38 w 227"/>
                <a:gd name="T23" fmla="*/ 93 h 466"/>
                <a:gd name="T24" fmla="*/ 29 w 227"/>
                <a:gd name="T25" fmla="*/ 40 h 466"/>
                <a:gd name="T26" fmla="*/ 65 w 227"/>
                <a:gd name="T27" fmla="*/ 0 h 466"/>
                <a:gd name="T28" fmla="*/ 227 w 227"/>
                <a:gd name="T29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7" h="466">
                  <a:moveTo>
                    <a:pt x="227" y="466"/>
                  </a:moveTo>
                  <a:cubicBezTo>
                    <a:pt x="177" y="440"/>
                    <a:pt x="66" y="432"/>
                    <a:pt x="34" y="387"/>
                  </a:cubicBezTo>
                  <a:cubicBezTo>
                    <a:pt x="27" y="376"/>
                    <a:pt x="20" y="365"/>
                    <a:pt x="19" y="353"/>
                  </a:cubicBezTo>
                  <a:cubicBezTo>
                    <a:pt x="18" y="340"/>
                    <a:pt x="23" y="326"/>
                    <a:pt x="34" y="320"/>
                  </a:cubicBezTo>
                  <a:cubicBezTo>
                    <a:pt x="43" y="316"/>
                    <a:pt x="55" y="316"/>
                    <a:pt x="62" y="309"/>
                  </a:cubicBezTo>
                  <a:cubicBezTo>
                    <a:pt x="68" y="303"/>
                    <a:pt x="69" y="293"/>
                    <a:pt x="65" y="285"/>
                  </a:cubicBezTo>
                  <a:cubicBezTo>
                    <a:pt x="62" y="277"/>
                    <a:pt x="56" y="271"/>
                    <a:pt x="49" y="265"/>
                  </a:cubicBezTo>
                  <a:cubicBezTo>
                    <a:pt x="34" y="250"/>
                    <a:pt x="16" y="237"/>
                    <a:pt x="8" y="217"/>
                  </a:cubicBezTo>
                  <a:cubicBezTo>
                    <a:pt x="0" y="197"/>
                    <a:pt x="5" y="170"/>
                    <a:pt x="25" y="163"/>
                  </a:cubicBezTo>
                  <a:cubicBezTo>
                    <a:pt x="37" y="158"/>
                    <a:pt x="52" y="161"/>
                    <a:pt x="60" y="152"/>
                  </a:cubicBezTo>
                  <a:cubicBezTo>
                    <a:pt x="69" y="144"/>
                    <a:pt x="67" y="130"/>
                    <a:pt x="61" y="120"/>
                  </a:cubicBezTo>
                  <a:cubicBezTo>
                    <a:pt x="55" y="110"/>
                    <a:pt x="45" y="103"/>
                    <a:pt x="38" y="93"/>
                  </a:cubicBezTo>
                  <a:cubicBezTo>
                    <a:pt x="28" y="78"/>
                    <a:pt x="24" y="58"/>
                    <a:pt x="29" y="40"/>
                  </a:cubicBezTo>
                  <a:cubicBezTo>
                    <a:pt x="34" y="23"/>
                    <a:pt x="48" y="7"/>
                    <a:pt x="65" y="0"/>
                  </a:cubicBezTo>
                  <a:lnTo>
                    <a:pt x="227" y="466"/>
                  </a:ln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ṥliḋè"/>
            <p:cNvSpPr/>
            <p:nvPr/>
          </p:nvSpPr>
          <p:spPr bwMode="auto">
            <a:xfrm>
              <a:off x="3211721" y="3931731"/>
              <a:ext cx="1018305" cy="1794418"/>
            </a:xfrm>
            <a:custGeom>
              <a:avLst/>
              <a:gdLst>
                <a:gd name="T0" fmla="*/ 162 w 267"/>
                <a:gd name="T1" fmla="*/ 471 h 471"/>
                <a:gd name="T2" fmla="*/ 264 w 267"/>
                <a:gd name="T3" fmla="*/ 289 h 471"/>
                <a:gd name="T4" fmla="*/ 254 w 267"/>
                <a:gd name="T5" fmla="*/ 253 h 471"/>
                <a:gd name="T6" fmla="*/ 223 w 267"/>
                <a:gd name="T7" fmla="*/ 237 h 471"/>
                <a:gd name="T8" fmla="*/ 193 w 267"/>
                <a:gd name="T9" fmla="*/ 246 h 471"/>
                <a:gd name="T10" fmla="*/ 176 w 267"/>
                <a:gd name="T11" fmla="*/ 228 h 471"/>
                <a:gd name="T12" fmla="*/ 176 w 267"/>
                <a:gd name="T13" fmla="*/ 203 h 471"/>
                <a:gd name="T14" fmla="*/ 179 w 267"/>
                <a:gd name="T15" fmla="*/ 140 h 471"/>
                <a:gd name="T16" fmla="*/ 132 w 267"/>
                <a:gd name="T17" fmla="*/ 108 h 471"/>
                <a:gd name="T18" fmla="*/ 98 w 267"/>
                <a:gd name="T19" fmla="*/ 122 h 471"/>
                <a:gd name="T20" fmla="*/ 78 w 267"/>
                <a:gd name="T21" fmla="*/ 97 h 471"/>
                <a:gd name="T22" fmla="*/ 79 w 267"/>
                <a:gd name="T23" fmla="*/ 62 h 471"/>
                <a:gd name="T24" fmla="*/ 53 w 267"/>
                <a:gd name="T25" fmla="*/ 15 h 471"/>
                <a:gd name="T26" fmla="*/ 0 w 267"/>
                <a:gd name="T27" fmla="*/ 5 h 471"/>
                <a:gd name="T28" fmla="*/ 162 w 267"/>
                <a:gd name="T29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7" h="471">
                  <a:moveTo>
                    <a:pt x="162" y="471"/>
                  </a:moveTo>
                  <a:cubicBezTo>
                    <a:pt x="185" y="420"/>
                    <a:pt x="267" y="345"/>
                    <a:pt x="264" y="289"/>
                  </a:cubicBezTo>
                  <a:cubicBezTo>
                    <a:pt x="263" y="277"/>
                    <a:pt x="261" y="264"/>
                    <a:pt x="254" y="253"/>
                  </a:cubicBezTo>
                  <a:cubicBezTo>
                    <a:pt x="248" y="243"/>
                    <a:pt x="235" y="235"/>
                    <a:pt x="223" y="237"/>
                  </a:cubicBezTo>
                  <a:cubicBezTo>
                    <a:pt x="213" y="239"/>
                    <a:pt x="204" y="247"/>
                    <a:pt x="193" y="246"/>
                  </a:cubicBezTo>
                  <a:cubicBezTo>
                    <a:pt x="185" y="244"/>
                    <a:pt x="178" y="237"/>
                    <a:pt x="176" y="228"/>
                  </a:cubicBezTo>
                  <a:cubicBezTo>
                    <a:pt x="174" y="220"/>
                    <a:pt x="175" y="211"/>
                    <a:pt x="176" y="203"/>
                  </a:cubicBezTo>
                  <a:cubicBezTo>
                    <a:pt x="180" y="182"/>
                    <a:pt x="185" y="160"/>
                    <a:pt x="179" y="140"/>
                  </a:cubicBezTo>
                  <a:cubicBezTo>
                    <a:pt x="173" y="120"/>
                    <a:pt x="152" y="102"/>
                    <a:pt x="132" y="108"/>
                  </a:cubicBezTo>
                  <a:cubicBezTo>
                    <a:pt x="120" y="112"/>
                    <a:pt x="110" y="123"/>
                    <a:pt x="98" y="122"/>
                  </a:cubicBezTo>
                  <a:cubicBezTo>
                    <a:pt x="86" y="120"/>
                    <a:pt x="79" y="108"/>
                    <a:pt x="78" y="97"/>
                  </a:cubicBezTo>
                  <a:cubicBezTo>
                    <a:pt x="76" y="85"/>
                    <a:pt x="79" y="73"/>
                    <a:pt x="79" y="62"/>
                  </a:cubicBezTo>
                  <a:cubicBezTo>
                    <a:pt x="78" y="43"/>
                    <a:pt x="68" y="25"/>
                    <a:pt x="53" y="15"/>
                  </a:cubicBezTo>
                  <a:cubicBezTo>
                    <a:pt x="38" y="4"/>
                    <a:pt x="18" y="0"/>
                    <a:pt x="0" y="5"/>
                  </a:cubicBezTo>
                  <a:lnTo>
                    <a:pt x="162" y="471"/>
                  </a:ln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ṧḻïḍe"/>
            <p:cNvSpPr/>
            <p:nvPr/>
          </p:nvSpPr>
          <p:spPr bwMode="auto">
            <a:xfrm>
              <a:off x="3099799" y="4157410"/>
              <a:ext cx="198157" cy="113757"/>
            </a:xfrm>
            <a:custGeom>
              <a:avLst/>
              <a:gdLst>
                <a:gd name="T0" fmla="*/ 50 w 52"/>
                <a:gd name="T1" fmla="*/ 30 h 30"/>
                <a:gd name="T2" fmla="*/ 49 w 52"/>
                <a:gd name="T3" fmla="*/ 30 h 30"/>
                <a:gd name="T4" fmla="*/ 1 w 52"/>
                <a:gd name="T5" fmla="*/ 5 h 30"/>
                <a:gd name="T6" fmla="*/ 0 w 52"/>
                <a:gd name="T7" fmla="*/ 2 h 30"/>
                <a:gd name="T8" fmla="*/ 3 w 52"/>
                <a:gd name="T9" fmla="*/ 1 h 30"/>
                <a:gd name="T10" fmla="*/ 50 w 52"/>
                <a:gd name="T11" fmla="*/ 26 h 30"/>
                <a:gd name="T12" fmla="*/ 51 w 52"/>
                <a:gd name="T13" fmla="*/ 29 h 30"/>
                <a:gd name="T14" fmla="*/ 50 w 52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30">
                  <a:moveTo>
                    <a:pt x="50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1" y="27"/>
                    <a:pt x="52" y="28"/>
                    <a:pt x="51" y="29"/>
                  </a:cubicBezTo>
                  <a:cubicBezTo>
                    <a:pt x="51" y="30"/>
                    <a:pt x="50" y="30"/>
                    <a:pt x="50" y="30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Sḷiḑe"/>
            <p:cNvSpPr/>
            <p:nvPr/>
          </p:nvSpPr>
          <p:spPr bwMode="auto">
            <a:xfrm>
              <a:off x="3343825" y="4049157"/>
              <a:ext cx="91739" cy="211001"/>
            </a:xfrm>
            <a:custGeom>
              <a:avLst/>
              <a:gdLst>
                <a:gd name="T0" fmla="*/ 3 w 24"/>
                <a:gd name="T1" fmla="*/ 55 h 55"/>
                <a:gd name="T2" fmla="*/ 2 w 24"/>
                <a:gd name="T3" fmla="*/ 55 h 55"/>
                <a:gd name="T4" fmla="*/ 1 w 24"/>
                <a:gd name="T5" fmla="*/ 52 h 55"/>
                <a:gd name="T6" fmla="*/ 20 w 24"/>
                <a:gd name="T7" fmla="*/ 2 h 55"/>
                <a:gd name="T8" fmla="*/ 23 w 24"/>
                <a:gd name="T9" fmla="*/ 0 h 55"/>
                <a:gd name="T10" fmla="*/ 24 w 24"/>
                <a:gd name="T11" fmla="*/ 3 h 55"/>
                <a:gd name="T12" fmla="*/ 4 w 24"/>
                <a:gd name="T13" fmla="*/ 54 h 55"/>
                <a:gd name="T14" fmla="*/ 3 w 24"/>
                <a:gd name="T1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55">
                  <a:moveTo>
                    <a:pt x="3" y="55"/>
                  </a:moveTo>
                  <a:cubicBezTo>
                    <a:pt x="2" y="55"/>
                    <a:pt x="2" y="55"/>
                    <a:pt x="2" y="55"/>
                  </a:cubicBezTo>
                  <a:cubicBezTo>
                    <a:pt x="1" y="55"/>
                    <a:pt x="0" y="54"/>
                    <a:pt x="1" y="5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1"/>
                    <a:pt x="22" y="0"/>
                    <a:pt x="23" y="0"/>
                  </a:cubicBezTo>
                  <a:cubicBezTo>
                    <a:pt x="24" y="1"/>
                    <a:pt x="24" y="2"/>
                    <a:pt x="24" y="3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" y="55"/>
                    <a:pt x="3" y="55"/>
                    <a:pt x="3" y="55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sľïḍè"/>
            <p:cNvSpPr/>
            <p:nvPr/>
          </p:nvSpPr>
          <p:spPr bwMode="auto">
            <a:xfrm>
              <a:off x="3576842" y="4454645"/>
              <a:ext cx="201826" cy="396313"/>
            </a:xfrm>
            <a:custGeom>
              <a:avLst/>
              <a:gdLst>
                <a:gd name="T0" fmla="*/ 3 w 53"/>
                <a:gd name="T1" fmla="*/ 104 h 104"/>
                <a:gd name="T2" fmla="*/ 2 w 53"/>
                <a:gd name="T3" fmla="*/ 104 h 104"/>
                <a:gd name="T4" fmla="*/ 1 w 53"/>
                <a:gd name="T5" fmla="*/ 101 h 104"/>
                <a:gd name="T6" fmla="*/ 49 w 53"/>
                <a:gd name="T7" fmla="*/ 2 h 104"/>
                <a:gd name="T8" fmla="*/ 52 w 53"/>
                <a:gd name="T9" fmla="*/ 1 h 104"/>
                <a:gd name="T10" fmla="*/ 53 w 53"/>
                <a:gd name="T11" fmla="*/ 3 h 104"/>
                <a:gd name="T12" fmla="*/ 4 w 53"/>
                <a:gd name="T13" fmla="*/ 103 h 104"/>
                <a:gd name="T14" fmla="*/ 3 w 53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104">
                  <a:moveTo>
                    <a:pt x="3" y="104"/>
                  </a:moveTo>
                  <a:cubicBezTo>
                    <a:pt x="2" y="104"/>
                    <a:pt x="2" y="104"/>
                    <a:pt x="2" y="104"/>
                  </a:cubicBezTo>
                  <a:cubicBezTo>
                    <a:pt x="1" y="104"/>
                    <a:pt x="0" y="102"/>
                    <a:pt x="1" y="101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1"/>
                    <a:pt x="51" y="0"/>
                    <a:pt x="52" y="1"/>
                  </a:cubicBezTo>
                  <a:cubicBezTo>
                    <a:pt x="53" y="1"/>
                    <a:pt x="53" y="2"/>
                    <a:pt x="53" y="3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4" y="104"/>
                    <a:pt x="3" y="104"/>
                    <a:pt x="3" y="104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śļîďe"/>
            <p:cNvSpPr/>
            <p:nvPr/>
          </p:nvSpPr>
          <p:spPr bwMode="auto">
            <a:xfrm>
              <a:off x="3729130" y="4972054"/>
              <a:ext cx="374296" cy="410991"/>
            </a:xfrm>
            <a:custGeom>
              <a:avLst/>
              <a:gdLst>
                <a:gd name="T0" fmla="*/ 2 w 98"/>
                <a:gd name="T1" fmla="*/ 108 h 108"/>
                <a:gd name="T2" fmla="*/ 1 w 98"/>
                <a:gd name="T3" fmla="*/ 107 h 108"/>
                <a:gd name="T4" fmla="*/ 0 w 98"/>
                <a:gd name="T5" fmla="*/ 104 h 108"/>
                <a:gd name="T6" fmla="*/ 94 w 98"/>
                <a:gd name="T7" fmla="*/ 1 h 108"/>
                <a:gd name="T8" fmla="*/ 97 w 98"/>
                <a:gd name="T9" fmla="*/ 1 h 108"/>
                <a:gd name="T10" fmla="*/ 97 w 98"/>
                <a:gd name="T11" fmla="*/ 4 h 108"/>
                <a:gd name="T12" fmla="*/ 3 w 98"/>
                <a:gd name="T13" fmla="*/ 107 h 108"/>
                <a:gd name="T14" fmla="*/ 2 w 98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108">
                  <a:moveTo>
                    <a:pt x="2" y="108"/>
                  </a:moveTo>
                  <a:cubicBezTo>
                    <a:pt x="1" y="108"/>
                    <a:pt x="1" y="108"/>
                    <a:pt x="1" y="107"/>
                  </a:cubicBezTo>
                  <a:cubicBezTo>
                    <a:pt x="0" y="106"/>
                    <a:pt x="0" y="105"/>
                    <a:pt x="0" y="104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5" y="0"/>
                    <a:pt x="96" y="0"/>
                    <a:pt x="97" y="1"/>
                  </a:cubicBezTo>
                  <a:cubicBezTo>
                    <a:pt x="97" y="2"/>
                    <a:pt x="98" y="3"/>
                    <a:pt x="97" y="4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8"/>
                    <a:pt x="2" y="108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ṧľîdè"/>
            <p:cNvSpPr/>
            <p:nvPr/>
          </p:nvSpPr>
          <p:spPr bwMode="auto">
            <a:xfrm>
              <a:off x="3042921" y="4674819"/>
              <a:ext cx="427505" cy="205496"/>
            </a:xfrm>
            <a:custGeom>
              <a:avLst/>
              <a:gdLst>
                <a:gd name="T0" fmla="*/ 109 w 112"/>
                <a:gd name="T1" fmla="*/ 54 h 54"/>
                <a:gd name="T2" fmla="*/ 109 w 112"/>
                <a:gd name="T3" fmla="*/ 54 h 54"/>
                <a:gd name="T4" fmla="*/ 1 w 112"/>
                <a:gd name="T5" fmla="*/ 4 h 54"/>
                <a:gd name="T6" fmla="*/ 0 w 112"/>
                <a:gd name="T7" fmla="*/ 2 h 54"/>
                <a:gd name="T8" fmla="*/ 3 w 112"/>
                <a:gd name="T9" fmla="*/ 1 h 54"/>
                <a:gd name="T10" fmla="*/ 110 w 112"/>
                <a:gd name="T11" fmla="*/ 50 h 54"/>
                <a:gd name="T12" fmla="*/ 111 w 112"/>
                <a:gd name="T13" fmla="*/ 53 h 54"/>
                <a:gd name="T14" fmla="*/ 109 w 112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54">
                  <a:moveTo>
                    <a:pt x="109" y="54"/>
                  </a:moveTo>
                  <a:cubicBezTo>
                    <a:pt x="109" y="54"/>
                    <a:pt x="109" y="54"/>
                    <a:pt x="109" y="5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11" y="50"/>
                    <a:pt x="112" y="52"/>
                    <a:pt x="111" y="53"/>
                  </a:cubicBezTo>
                  <a:cubicBezTo>
                    <a:pt x="111" y="53"/>
                    <a:pt x="110" y="54"/>
                    <a:pt x="109" y="54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S1íḍe"/>
            <p:cNvSpPr/>
            <p:nvPr/>
          </p:nvSpPr>
          <p:spPr bwMode="auto">
            <a:xfrm>
              <a:off x="3088790" y="5243602"/>
              <a:ext cx="576122" cy="174305"/>
            </a:xfrm>
            <a:custGeom>
              <a:avLst/>
              <a:gdLst>
                <a:gd name="T0" fmla="*/ 149 w 151"/>
                <a:gd name="T1" fmla="*/ 46 h 46"/>
                <a:gd name="T2" fmla="*/ 148 w 151"/>
                <a:gd name="T3" fmla="*/ 46 h 46"/>
                <a:gd name="T4" fmla="*/ 1 w 151"/>
                <a:gd name="T5" fmla="*/ 4 h 46"/>
                <a:gd name="T6" fmla="*/ 0 w 151"/>
                <a:gd name="T7" fmla="*/ 2 h 46"/>
                <a:gd name="T8" fmla="*/ 2 w 151"/>
                <a:gd name="T9" fmla="*/ 0 h 46"/>
                <a:gd name="T10" fmla="*/ 150 w 151"/>
                <a:gd name="T11" fmla="*/ 42 h 46"/>
                <a:gd name="T12" fmla="*/ 151 w 151"/>
                <a:gd name="T13" fmla="*/ 44 h 46"/>
                <a:gd name="T14" fmla="*/ 149 w 151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46">
                  <a:moveTo>
                    <a:pt x="149" y="46"/>
                  </a:moveTo>
                  <a:cubicBezTo>
                    <a:pt x="149" y="46"/>
                    <a:pt x="149" y="46"/>
                    <a:pt x="148" y="4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151" y="42"/>
                    <a:pt x="151" y="43"/>
                    <a:pt x="151" y="44"/>
                  </a:cubicBezTo>
                  <a:cubicBezTo>
                    <a:pt x="151" y="45"/>
                    <a:pt x="150" y="46"/>
                    <a:pt x="149" y="46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$ḻíḓé"/>
            <p:cNvSpPr/>
            <p:nvPr/>
          </p:nvSpPr>
          <p:spPr bwMode="auto">
            <a:xfrm>
              <a:off x="8789463" y="4221627"/>
              <a:ext cx="610983" cy="1421958"/>
            </a:xfrm>
            <a:custGeom>
              <a:avLst/>
              <a:gdLst>
                <a:gd name="T0" fmla="*/ 0 w 160"/>
                <a:gd name="T1" fmla="*/ 373 h 373"/>
                <a:gd name="T2" fmla="*/ 145 w 160"/>
                <a:gd name="T3" fmla="*/ 299 h 373"/>
                <a:gd name="T4" fmla="*/ 155 w 160"/>
                <a:gd name="T5" fmla="*/ 271 h 373"/>
                <a:gd name="T6" fmla="*/ 141 w 160"/>
                <a:gd name="T7" fmla="*/ 247 h 373"/>
                <a:gd name="T8" fmla="*/ 118 w 160"/>
                <a:gd name="T9" fmla="*/ 240 h 373"/>
                <a:gd name="T10" fmla="*/ 114 w 160"/>
                <a:gd name="T11" fmla="*/ 221 h 373"/>
                <a:gd name="T12" fmla="*/ 126 w 160"/>
                <a:gd name="T13" fmla="*/ 205 h 373"/>
                <a:gd name="T14" fmla="*/ 155 w 160"/>
                <a:gd name="T15" fmla="*/ 165 h 373"/>
                <a:gd name="T16" fmla="*/ 138 w 160"/>
                <a:gd name="T17" fmla="*/ 124 h 373"/>
                <a:gd name="T18" fmla="*/ 110 w 160"/>
                <a:gd name="T19" fmla="*/ 118 h 373"/>
                <a:gd name="T20" fmla="*/ 107 w 160"/>
                <a:gd name="T21" fmla="*/ 93 h 373"/>
                <a:gd name="T22" fmla="*/ 123 w 160"/>
                <a:gd name="T23" fmla="*/ 71 h 373"/>
                <a:gd name="T24" fmla="*/ 127 w 160"/>
                <a:gd name="T25" fmla="*/ 29 h 373"/>
                <a:gd name="T26" fmla="*/ 96 w 160"/>
                <a:gd name="T27" fmla="*/ 0 h 373"/>
                <a:gd name="T28" fmla="*/ 0 w 160"/>
                <a:gd name="T29" fmla="*/ 37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" h="373">
                  <a:moveTo>
                    <a:pt x="0" y="373"/>
                  </a:moveTo>
                  <a:cubicBezTo>
                    <a:pt x="37" y="349"/>
                    <a:pt x="123" y="336"/>
                    <a:pt x="145" y="299"/>
                  </a:cubicBezTo>
                  <a:cubicBezTo>
                    <a:pt x="150" y="290"/>
                    <a:pt x="155" y="281"/>
                    <a:pt x="155" y="271"/>
                  </a:cubicBezTo>
                  <a:cubicBezTo>
                    <a:pt x="155" y="261"/>
                    <a:pt x="150" y="251"/>
                    <a:pt x="141" y="247"/>
                  </a:cubicBezTo>
                  <a:cubicBezTo>
                    <a:pt x="134" y="244"/>
                    <a:pt x="124" y="245"/>
                    <a:pt x="118" y="240"/>
                  </a:cubicBezTo>
                  <a:cubicBezTo>
                    <a:pt x="113" y="235"/>
                    <a:pt x="112" y="228"/>
                    <a:pt x="114" y="221"/>
                  </a:cubicBezTo>
                  <a:cubicBezTo>
                    <a:pt x="117" y="215"/>
                    <a:pt x="121" y="210"/>
                    <a:pt x="126" y="205"/>
                  </a:cubicBezTo>
                  <a:cubicBezTo>
                    <a:pt x="137" y="193"/>
                    <a:pt x="149" y="181"/>
                    <a:pt x="155" y="165"/>
                  </a:cubicBezTo>
                  <a:cubicBezTo>
                    <a:pt x="160" y="149"/>
                    <a:pt x="154" y="128"/>
                    <a:pt x="138" y="124"/>
                  </a:cubicBezTo>
                  <a:cubicBezTo>
                    <a:pt x="128" y="121"/>
                    <a:pt x="117" y="124"/>
                    <a:pt x="110" y="118"/>
                  </a:cubicBezTo>
                  <a:cubicBezTo>
                    <a:pt x="103" y="112"/>
                    <a:pt x="103" y="101"/>
                    <a:pt x="107" y="93"/>
                  </a:cubicBezTo>
                  <a:cubicBezTo>
                    <a:pt x="111" y="85"/>
                    <a:pt x="118" y="78"/>
                    <a:pt x="123" y="71"/>
                  </a:cubicBezTo>
                  <a:cubicBezTo>
                    <a:pt x="130" y="58"/>
                    <a:pt x="132" y="42"/>
                    <a:pt x="127" y="29"/>
                  </a:cubicBezTo>
                  <a:cubicBezTo>
                    <a:pt x="122" y="15"/>
                    <a:pt x="110" y="4"/>
                    <a:pt x="96" y="0"/>
                  </a:cubicBezTo>
                  <a:lnTo>
                    <a:pt x="0" y="373"/>
                  </a:ln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ṡľïḓé"/>
            <p:cNvSpPr/>
            <p:nvPr/>
          </p:nvSpPr>
          <p:spPr bwMode="auto">
            <a:xfrm>
              <a:off x="8442688" y="4210618"/>
              <a:ext cx="713731" cy="1432966"/>
            </a:xfrm>
            <a:custGeom>
              <a:avLst/>
              <a:gdLst>
                <a:gd name="T0" fmla="*/ 91 w 187"/>
                <a:gd name="T1" fmla="*/ 376 h 376"/>
                <a:gd name="T2" fmla="*/ 0 w 187"/>
                <a:gd name="T3" fmla="*/ 241 h 376"/>
                <a:gd name="T4" fmla="*/ 5 w 187"/>
                <a:gd name="T5" fmla="*/ 212 h 376"/>
                <a:gd name="T6" fmla="*/ 29 w 187"/>
                <a:gd name="T7" fmla="*/ 198 h 376"/>
                <a:gd name="T8" fmla="*/ 52 w 187"/>
                <a:gd name="T9" fmla="*/ 202 h 376"/>
                <a:gd name="T10" fmla="*/ 65 w 187"/>
                <a:gd name="T11" fmla="*/ 188 h 376"/>
                <a:gd name="T12" fmla="*/ 63 w 187"/>
                <a:gd name="T13" fmla="*/ 168 h 376"/>
                <a:gd name="T14" fmla="*/ 57 w 187"/>
                <a:gd name="T15" fmla="*/ 119 h 376"/>
                <a:gd name="T16" fmla="*/ 91 w 187"/>
                <a:gd name="T17" fmla="*/ 91 h 376"/>
                <a:gd name="T18" fmla="*/ 119 w 187"/>
                <a:gd name="T19" fmla="*/ 100 h 376"/>
                <a:gd name="T20" fmla="*/ 133 w 187"/>
                <a:gd name="T21" fmla="*/ 79 h 376"/>
                <a:gd name="T22" fmla="*/ 130 w 187"/>
                <a:gd name="T23" fmla="*/ 52 h 376"/>
                <a:gd name="T24" fmla="*/ 147 w 187"/>
                <a:gd name="T25" fmla="*/ 13 h 376"/>
                <a:gd name="T26" fmla="*/ 187 w 187"/>
                <a:gd name="T27" fmla="*/ 3 h 376"/>
                <a:gd name="T28" fmla="*/ 91 w 187"/>
                <a:gd name="T2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376">
                  <a:moveTo>
                    <a:pt x="91" y="376"/>
                  </a:moveTo>
                  <a:cubicBezTo>
                    <a:pt x="70" y="337"/>
                    <a:pt x="1" y="285"/>
                    <a:pt x="0" y="241"/>
                  </a:cubicBezTo>
                  <a:cubicBezTo>
                    <a:pt x="0" y="231"/>
                    <a:pt x="0" y="221"/>
                    <a:pt x="5" y="212"/>
                  </a:cubicBezTo>
                  <a:cubicBezTo>
                    <a:pt x="10" y="204"/>
                    <a:pt x="19" y="197"/>
                    <a:pt x="29" y="198"/>
                  </a:cubicBezTo>
                  <a:cubicBezTo>
                    <a:pt x="37" y="199"/>
                    <a:pt x="44" y="204"/>
                    <a:pt x="52" y="202"/>
                  </a:cubicBezTo>
                  <a:cubicBezTo>
                    <a:pt x="59" y="201"/>
                    <a:pt x="63" y="195"/>
                    <a:pt x="65" y="188"/>
                  </a:cubicBezTo>
                  <a:cubicBezTo>
                    <a:pt x="66" y="181"/>
                    <a:pt x="64" y="175"/>
                    <a:pt x="63" y="168"/>
                  </a:cubicBezTo>
                  <a:cubicBezTo>
                    <a:pt x="59" y="152"/>
                    <a:pt x="53" y="136"/>
                    <a:pt x="57" y="119"/>
                  </a:cubicBezTo>
                  <a:cubicBezTo>
                    <a:pt x="60" y="103"/>
                    <a:pt x="75" y="88"/>
                    <a:pt x="91" y="91"/>
                  </a:cubicBezTo>
                  <a:cubicBezTo>
                    <a:pt x="101" y="94"/>
                    <a:pt x="109" y="102"/>
                    <a:pt x="119" y="100"/>
                  </a:cubicBezTo>
                  <a:cubicBezTo>
                    <a:pt x="127" y="98"/>
                    <a:pt x="132" y="88"/>
                    <a:pt x="133" y="79"/>
                  </a:cubicBezTo>
                  <a:cubicBezTo>
                    <a:pt x="133" y="70"/>
                    <a:pt x="130" y="61"/>
                    <a:pt x="130" y="52"/>
                  </a:cubicBezTo>
                  <a:cubicBezTo>
                    <a:pt x="129" y="37"/>
                    <a:pt x="136" y="23"/>
                    <a:pt x="147" y="13"/>
                  </a:cubicBezTo>
                  <a:cubicBezTo>
                    <a:pt x="158" y="4"/>
                    <a:pt x="173" y="0"/>
                    <a:pt x="187" y="3"/>
                  </a:cubicBezTo>
                  <a:lnTo>
                    <a:pt x="91" y="376"/>
                  </a:ln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Slîďe"/>
            <p:cNvSpPr/>
            <p:nvPr/>
          </p:nvSpPr>
          <p:spPr bwMode="auto">
            <a:xfrm>
              <a:off x="9117888" y="4351897"/>
              <a:ext cx="152288" cy="102748"/>
            </a:xfrm>
            <a:custGeom>
              <a:avLst/>
              <a:gdLst>
                <a:gd name="T0" fmla="*/ 3 w 40"/>
                <a:gd name="T1" fmla="*/ 27 h 27"/>
                <a:gd name="T2" fmla="*/ 1 w 40"/>
                <a:gd name="T3" fmla="*/ 26 h 27"/>
                <a:gd name="T4" fmla="*/ 2 w 40"/>
                <a:gd name="T5" fmla="*/ 24 h 27"/>
                <a:gd name="T6" fmla="*/ 37 w 40"/>
                <a:gd name="T7" fmla="*/ 1 h 27"/>
                <a:gd name="T8" fmla="*/ 39 w 40"/>
                <a:gd name="T9" fmla="*/ 1 h 27"/>
                <a:gd name="T10" fmla="*/ 39 w 40"/>
                <a:gd name="T11" fmla="*/ 4 h 27"/>
                <a:gd name="T12" fmla="*/ 4 w 40"/>
                <a:gd name="T13" fmla="*/ 27 h 27"/>
                <a:gd name="T14" fmla="*/ 3 w 40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27">
                  <a:moveTo>
                    <a:pt x="3" y="27"/>
                  </a:moveTo>
                  <a:cubicBezTo>
                    <a:pt x="2" y="27"/>
                    <a:pt x="1" y="27"/>
                    <a:pt x="1" y="26"/>
                  </a:cubicBezTo>
                  <a:cubicBezTo>
                    <a:pt x="0" y="26"/>
                    <a:pt x="1" y="24"/>
                    <a:pt x="2" y="24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8" y="0"/>
                    <a:pt x="39" y="1"/>
                    <a:pt x="39" y="1"/>
                  </a:cubicBezTo>
                  <a:cubicBezTo>
                    <a:pt x="40" y="2"/>
                    <a:pt x="40" y="4"/>
                    <a:pt x="39" y="4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3" y="27"/>
                    <a:pt x="3" y="27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ṣḻïḍé"/>
            <p:cNvSpPr/>
            <p:nvPr/>
          </p:nvSpPr>
          <p:spPr bwMode="auto">
            <a:xfrm>
              <a:off x="9000462" y="4302357"/>
              <a:ext cx="71557" cy="139444"/>
            </a:xfrm>
            <a:custGeom>
              <a:avLst/>
              <a:gdLst>
                <a:gd name="T0" fmla="*/ 17 w 19"/>
                <a:gd name="T1" fmla="*/ 37 h 37"/>
                <a:gd name="T2" fmla="*/ 15 w 19"/>
                <a:gd name="T3" fmla="*/ 36 h 37"/>
                <a:gd name="T4" fmla="*/ 1 w 19"/>
                <a:gd name="T5" fmla="*/ 3 h 37"/>
                <a:gd name="T6" fmla="*/ 2 w 19"/>
                <a:gd name="T7" fmla="*/ 0 h 37"/>
                <a:gd name="T8" fmla="*/ 4 w 19"/>
                <a:gd name="T9" fmla="*/ 1 h 37"/>
                <a:gd name="T10" fmla="*/ 18 w 19"/>
                <a:gd name="T11" fmla="*/ 35 h 37"/>
                <a:gd name="T12" fmla="*/ 17 w 19"/>
                <a:gd name="T13" fmla="*/ 37 h 37"/>
                <a:gd name="T14" fmla="*/ 17 w 19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37">
                  <a:moveTo>
                    <a:pt x="17" y="37"/>
                  </a:moveTo>
                  <a:cubicBezTo>
                    <a:pt x="16" y="37"/>
                    <a:pt x="15" y="37"/>
                    <a:pt x="15" y="36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9" y="36"/>
                    <a:pt x="18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ṥḻíḍè"/>
            <p:cNvSpPr/>
            <p:nvPr/>
          </p:nvSpPr>
          <p:spPr bwMode="auto">
            <a:xfrm>
              <a:off x="9026149" y="4770228"/>
              <a:ext cx="297235" cy="152288"/>
            </a:xfrm>
            <a:custGeom>
              <a:avLst/>
              <a:gdLst>
                <a:gd name="T0" fmla="*/ 3 w 78"/>
                <a:gd name="T1" fmla="*/ 40 h 40"/>
                <a:gd name="T2" fmla="*/ 1 w 78"/>
                <a:gd name="T3" fmla="*/ 39 h 40"/>
                <a:gd name="T4" fmla="*/ 2 w 78"/>
                <a:gd name="T5" fmla="*/ 36 h 40"/>
                <a:gd name="T6" fmla="*/ 74 w 78"/>
                <a:gd name="T7" fmla="*/ 0 h 40"/>
                <a:gd name="T8" fmla="*/ 77 w 78"/>
                <a:gd name="T9" fmla="*/ 1 h 40"/>
                <a:gd name="T10" fmla="*/ 76 w 78"/>
                <a:gd name="T11" fmla="*/ 4 h 40"/>
                <a:gd name="T12" fmla="*/ 3 w 78"/>
                <a:gd name="T13" fmla="*/ 40 h 40"/>
                <a:gd name="T14" fmla="*/ 3 w 78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40">
                  <a:moveTo>
                    <a:pt x="3" y="40"/>
                  </a:moveTo>
                  <a:cubicBezTo>
                    <a:pt x="2" y="40"/>
                    <a:pt x="1" y="39"/>
                    <a:pt x="1" y="39"/>
                  </a:cubicBezTo>
                  <a:cubicBezTo>
                    <a:pt x="0" y="38"/>
                    <a:pt x="1" y="36"/>
                    <a:pt x="2" y="36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7" y="0"/>
                    <a:pt x="77" y="1"/>
                  </a:cubicBezTo>
                  <a:cubicBezTo>
                    <a:pt x="78" y="2"/>
                    <a:pt x="77" y="3"/>
                    <a:pt x="76" y="4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ṩḷiḑe"/>
            <p:cNvSpPr/>
            <p:nvPr/>
          </p:nvSpPr>
          <p:spPr bwMode="auto">
            <a:xfrm>
              <a:off x="8725245" y="4632618"/>
              <a:ext cx="201826" cy="255035"/>
            </a:xfrm>
            <a:custGeom>
              <a:avLst/>
              <a:gdLst>
                <a:gd name="T0" fmla="*/ 51 w 53"/>
                <a:gd name="T1" fmla="*/ 67 h 67"/>
                <a:gd name="T2" fmla="*/ 49 w 53"/>
                <a:gd name="T3" fmla="*/ 66 h 67"/>
                <a:gd name="T4" fmla="*/ 1 w 53"/>
                <a:gd name="T5" fmla="*/ 4 h 67"/>
                <a:gd name="T6" fmla="*/ 1 w 53"/>
                <a:gd name="T7" fmla="*/ 1 h 67"/>
                <a:gd name="T8" fmla="*/ 4 w 53"/>
                <a:gd name="T9" fmla="*/ 1 h 67"/>
                <a:gd name="T10" fmla="*/ 53 w 53"/>
                <a:gd name="T11" fmla="*/ 64 h 67"/>
                <a:gd name="T12" fmla="*/ 52 w 53"/>
                <a:gd name="T13" fmla="*/ 66 h 67"/>
                <a:gd name="T14" fmla="*/ 51 w 53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67">
                  <a:moveTo>
                    <a:pt x="51" y="67"/>
                  </a:moveTo>
                  <a:cubicBezTo>
                    <a:pt x="50" y="67"/>
                    <a:pt x="50" y="67"/>
                    <a:pt x="49" y="6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5"/>
                    <a:pt x="53" y="66"/>
                    <a:pt x="52" y="66"/>
                  </a:cubicBezTo>
                  <a:cubicBezTo>
                    <a:pt x="52" y="67"/>
                    <a:pt x="51" y="67"/>
                    <a:pt x="51" y="67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Sļïḍè"/>
            <p:cNvSpPr/>
            <p:nvPr/>
          </p:nvSpPr>
          <p:spPr bwMode="auto">
            <a:xfrm>
              <a:off x="8523418" y="5056454"/>
              <a:ext cx="315583" cy="326591"/>
            </a:xfrm>
            <a:custGeom>
              <a:avLst/>
              <a:gdLst>
                <a:gd name="T0" fmla="*/ 81 w 83"/>
                <a:gd name="T1" fmla="*/ 86 h 86"/>
                <a:gd name="T2" fmla="*/ 80 w 83"/>
                <a:gd name="T3" fmla="*/ 85 h 86"/>
                <a:gd name="T4" fmla="*/ 1 w 83"/>
                <a:gd name="T5" fmla="*/ 4 h 86"/>
                <a:gd name="T6" fmla="*/ 1 w 83"/>
                <a:gd name="T7" fmla="*/ 1 h 86"/>
                <a:gd name="T8" fmla="*/ 4 w 83"/>
                <a:gd name="T9" fmla="*/ 1 h 86"/>
                <a:gd name="T10" fmla="*/ 83 w 83"/>
                <a:gd name="T11" fmla="*/ 82 h 86"/>
                <a:gd name="T12" fmla="*/ 83 w 83"/>
                <a:gd name="T13" fmla="*/ 85 h 86"/>
                <a:gd name="T14" fmla="*/ 81 w 83"/>
                <a:gd name="T1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86">
                  <a:moveTo>
                    <a:pt x="81" y="86"/>
                  </a:moveTo>
                  <a:cubicBezTo>
                    <a:pt x="81" y="86"/>
                    <a:pt x="80" y="85"/>
                    <a:pt x="80" y="8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83"/>
                    <a:pt x="83" y="84"/>
                    <a:pt x="83" y="85"/>
                  </a:cubicBezTo>
                  <a:cubicBezTo>
                    <a:pt x="82" y="85"/>
                    <a:pt x="82" y="86"/>
                    <a:pt x="81" y="86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ṡ1îḍe"/>
            <p:cNvSpPr/>
            <p:nvPr/>
          </p:nvSpPr>
          <p:spPr bwMode="auto">
            <a:xfrm>
              <a:off x="8892210" y="5227088"/>
              <a:ext cx="451357" cy="168800"/>
            </a:xfrm>
            <a:custGeom>
              <a:avLst/>
              <a:gdLst>
                <a:gd name="T0" fmla="*/ 3 w 118"/>
                <a:gd name="T1" fmla="*/ 44 h 44"/>
                <a:gd name="T2" fmla="*/ 1 w 118"/>
                <a:gd name="T3" fmla="*/ 43 h 44"/>
                <a:gd name="T4" fmla="*/ 2 w 118"/>
                <a:gd name="T5" fmla="*/ 41 h 44"/>
                <a:gd name="T6" fmla="*/ 115 w 118"/>
                <a:gd name="T7" fmla="*/ 0 h 44"/>
                <a:gd name="T8" fmla="*/ 117 w 118"/>
                <a:gd name="T9" fmla="*/ 2 h 44"/>
                <a:gd name="T10" fmla="*/ 116 w 118"/>
                <a:gd name="T11" fmla="*/ 4 h 44"/>
                <a:gd name="T12" fmla="*/ 3 w 118"/>
                <a:gd name="T13" fmla="*/ 44 h 44"/>
                <a:gd name="T14" fmla="*/ 3 w 118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44">
                  <a:moveTo>
                    <a:pt x="3" y="44"/>
                  </a:moveTo>
                  <a:cubicBezTo>
                    <a:pt x="2" y="44"/>
                    <a:pt x="1" y="44"/>
                    <a:pt x="1" y="43"/>
                  </a:cubicBezTo>
                  <a:cubicBezTo>
                    <a:pt x="0" y="42"/>
                    <a:pt x="1" y="41"/>
                    <a:pt x="2" y="41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6" y="0"/>
                    <a:pt x="117" y="1"/>
                    <a:pt x="117" y="2"/>
                  </a:cubicBezTo>
                  <a:cubicBezTo>
                    <a:pt x="118" y="3"/>
                    <a:pt x="117" y="4"/>
                    <a:pt x="116" y="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íS1iḑê"/>
            <p:cNvSpPr/>
            <p:nvPr/>
          </p:nvSpPr>
          <p:spPr bwMode="auto">
            <a:xfrm>
              <a:off x="4507078" y="5322497"/>
              <a:ext cx="88070" cy="88070"/>
            </a:xfrm>
            <a:custGeom>
              <a:avLst/>
              <a:gdLst>
                <a:gd name="T0" fmla="*/ 21 w 23"/>
                <a:gd name="T1" fmla="*/ 23 h 23"/>
                <a:gd name="T2" fmla="*/ 19 w 23"/>
                <a:gd name="T3" fmla="*/ 22 h 23"/>
                <a:gd name="T4" fmla="*/ 1 w 23"/>
                <a:gd name="T5" fmla="*/ 3 h 23"/>
                <a:gd name="T6" fmla="*/ 1 w 23"/>
                <a:gd name="T7" fmla="*/ 1 h 23"/>
                <a:gd name="T8" fmla="*/ 4 w 23"/>
                <a:gd name="T9" fmla="*/ 1 h 23"/>
                <a:gd name="T10" fmla="*/ 22 w 23"/>
                <a:gd name="T11" fmla="*/ 19 h 23"/>
                <a:gd name="T12" fmla="*/ 22 w 23"/>
                <a:gd name="T13" fmla="*/ 22 h 23"/>
                <a:gd name="T14" fmla="*/ 21 w 23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3">
                  <a:moveTo>
                    <a:pt x="21" y="23"/>
                  </a:moveTo>
                  <a:cubicBezTo>
                    <a:pt x="20" y="23"/>
                    <a:pt x="19" y="22"/>
                    <a:pt x="19" y="2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20"/>
                    <a:pt x="23" y="21"/>
                    <a:pt x="22" y="22"/>
                  </a:cubicBezTo>
                  <a:cubicBezTo>
                    <a:pt x="22" y="22"/>
                    <a:pt x="21" y="23"/>
                    <a:pt x="21" y="23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ṩḷíḑe"/>
            <p:cNvSpPr/>
            <p:nvPr/>
          </p:nvSpPr>
          <p:spPr bwMode="auto">
            <a:xfrm>
              <a:off x="3756651" y="4933523"/>
              <a:ext cx="2196236" cy="728410"/>
            </a:xfrm>
            <a:custGeom>
              <a:avLst/>
              <a:gdLst>
                <a:gd name="T0" fmla="*/ 33 w 576"/>
                <a:gd name="T1" fmla="*/ 138 h 191"/>
                <a:gd name="T2" fmla="*/ 68 w 576"/>
                <a:gd name="T3" fmla="*/ 136 h 191"/>
                <a:gd name="T4" fmla="*/ 99 w 576"/>
                <a:gd name="T5" fmla="*/ 75 h 191"/>
                <a:gd name="T6" fmla="*/ 192 w 576"/>
                <a:gd name="T7" fmla="*/ 71 h 191"/>
                <a:gd name="T8" fmla="*/ 206 w 576"/>
                <a:gd name="T9" fmla="*/ 43 h 191"/>
                <a:gd name="T10" fmla="*/ 239 w 576"/>
                <a:gd name="T11" fmla="*/ 47 h 191"/>
                <a:gd name="T12" fmla="*/ 281 w 576"/>
                <a:gd name="T13" fmla="*/ 8 h 191"/>
                <a:gd name="T14" fmla="*/ 355 w 576"/>
                <a:gd name="T15" fmla="*/ 30 h 191"/>
                <a:gd name="T16" fmla="*/ 404 w 576"/>
                <a:gd name="T17" fmla="*/ 26 h 191"/>
                <a:gd name="T18" fmla="*/ 431 w 576"/>
                <a:gd name="T19" fmla="*/ 67 h 191"/>
                <a:gd name="T20" fmla="*/ 517 w 576"/>
                <a:gd name="T21" fmla="*/ 76 h 191"/>
                <a:gd name="T22" fmla="*/ 543 w 576"/>
                <a:gd name="T23" fmla="*/ 138 h 191"/>
                <a:gd name="T24" fmla="*/ 575 w 576"/>
                <a:gd name="T25" fmla="*/ 191 h 191"/>
                <a:gd name="T26" fmla="*/ 527 w 576"/>
                <a:gd name="T27" fmla="*/ 191 h 191"/>
                <a:gd name="T28" fmla="*/ 452 w 576"/>
                <a:gd name="T29" fmla="*/ 191 h 191"/>
                <a:gd name="T30" fmla="*/ 124 w 576"/>
                <a:gd name="T31" fmla="*/ 191 h 191"/>
                <a:gd name="T32" fmla="*/ 81 w 576"/>
                <a:gd name="T33" fmla="*/ 191 h 191"/>
                <a:gd name="T34" fmla="*/ 1 w 576"/>
                <a:gd name="T35" fmla="*/ 191 h 191"/>
                <a:gd name="T36" fmla="*/ 33 w 576"/>
                <a:gd name="T37" fmla="*/ 13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76" h="191">
                  <a:moveTo>
                    <a:pt x="33" y="138"/>
                  </a:moveTo>
                  <a:cubicBezTo>
                    <a:pt x="44" y="133"/>
                    <a:pt x="57" y="133"/>
                    <a:pt x="68" y="136"/>
                  </a:cubicBezTo>
                  <a:cubicBezTo>
                    <a:pt x="69" y="112"/>
                    <a:pt x="81" y="89"/>
                    <a:pt x="99" y="75"/>
                  </a:cubicBezTo>
                  <a:cubicBezTo>
                    <a:pt x="125" y="56"/>
                    <a:pt x="162" y="54"/>
                    <a:pt x="192" y="71"/>
                  </a:cubicBezTo>
                  <a:cubicBezTo>
                    <a:pt x="191" y="59"/>
                    <a:pt x="196" y="48"/>
                    <a:pt x="206" y="43"/>
                  </a:cubicBezTo>
                  <a:cubicBezTo>
                    <a:pt x="217" y="37"/>
                    <a:pt x="230" y="38"/>
                    <a:pt x="239" y="47"/>
                  </a:cubicBezTo>
                  <a:cubicBezTo>
                    <a:pt x="240" y="42"/>
                    <a:pt x="252" y="17"/>
                    <a:pt x="281" y="8"/>
                  </a:cubicBezTo>
                  <a:cubicBezTo>
                    <a:pt x="307" y="0"/>
                    <a:pt x="336" y="8"/>
                    <a:pt x="355" y="30"/>
                  </a:cubicBezTo>
                  <a:cubicBezTo>
                    <a:pt x="370" y="20"/>
                    <a:pt x="388" y="18"/>
                    <a:pt x="404" y="26"/>
                  </a:cubicBezTo>
                  <a:cubicBezTo>
                    <a:pt x="420" y="34"/>
                    <a:pt x="430" y="49"/>
                    <a:pt x="431" y="67"/>
                  </a:cubicBezTo>
                  <a:cubicBezTo>
                    <a:pt x="461" y="54"/>
                    <a:pt x="494" y="58"/>
                    <a:pt x="517" y="76"/>
                  </a:cubicBezTo>
                  <a:cubicBezTo>
                    <a:pt x="534" y="91"/>
                    <a:pt x="544" y="114"/>
                    <a:pt x="543" y="138"/>
                  </a:cubicBezTo>
                  <a:cubicBezTo>
                    <a:pt x="563" y="147"/>
                    <a:pt x="576" y="168"/>
                    <a:pt x="575" y="191"/>
                  </a:cubicBezTo>
                  <a:cubicBezTo>
                    <a:pt x="559" y="191"/>
                    <a:pt x="543" y="191"/>
                    <a:pt x="527" y="191"/>
                  </a:cubicBezTo>
                  <a:cubicBezTo>
                    <a:pt x="502" y="191"/>
                    <a:pt x="477" y="191"/>
                    <a:pt x="452" y="191"/>
                  </a:cubicBezTo>
                  <a:cubicBezTo>
                    <a:pt x="343" y="191"/>
                    <a:pt x="233" y="191"/>
                    <a:pt x="124" y="191"/>
                  </a:cubicBezTo>
                  <a:cubicBezTo>
                    <a:pt x="109" y="191"/>
                    <a:pt x="95" y="191"/>
                    <a:pt x="81" y="191"/>
                  </a:cubicBezTo>
                  <a:cubicBezTo>
                    <a:pt x="54" y="191"/>
                    <a:pt x="28" y="191"/>
                    <a:pt x="1" y="191"/>
                  </a:cubicBezTo>
                  <a:cubicBezTo>
                    <a:pt x="0" y="168"/>
                    <a:pt x="13" y="147"/>
                    <a:pt x="33" y="138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şḻïďè"/>
            <p:cNvSpPr/>
            <p:nvPr/>
          </p:nvSpPr>
          <p:spPr bwMode="auto">
            <a:xfrm>
              <a:off x="3886921" y="5250941"/>
              <a:ext cx="1181601" cy="410991"/>
            </a:xfrm>
            <a:custGeom>
              <a:avLst/>
              <a:gdLst>
                <a:gd name="T0" fmla="*/ 8 w 310"/>
                <a:gd name="T1" fmla="*/ 108 h 108"/>
                <a:gd name="T2" fmla="*/ 306 w 310"/>
                <a:gd name="T3" fmla="*/ 108 h 108"/>
                <a:gd name="T4" fmla="*/ 292 w 310"/>
                <a:gd name="T5" fmla="*/ 68 h 108"/>
                <a:gd name="T6" fmla="*/ 260 w 310"/>
                <a:gd name="T7" fmla="*/ 65 h 108"/>
                <a:gd name="T8" fmla="*/ 251 w 310"/>
                <a:gd name="T9" fmla="*/ 27 h 108"/>
                <a:gd name="T10" fmla="*/ 213 w 310"/>
                <a:gd name="T11" fmla="*/ 22 h 108"/>
                <a:gd name="T12" fmla="*/ 159 w 310"/>
                <a:gd name="T13" fmla="*/ 6 h 108"/>
                <a:gd name="T14" fmla="*/ 114 w 310"/>
                <a:gd name="T15" fmla="*/ 42 h 108"/>
                <a:gd name="T16" fmla="*/ 86 w 310"/>
                <a:gd name="T17" fmla="*/ 29 h 108"/>
                <a:gd name="T18" fmla="*/ 64 w 310"/>
                <a:gd name="T19" fmla="*/ 56 h 108"/>
                <a:gd name="T20" fmla="*/ 20 w 310"/>
                <a:gd name="T21" fmla="*/ 59 h 108"/>
                <a:gd name="T22" fmla="*/ 8 w 310"/>
                <a:gd name="T2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108">
                  <a:moveTo>
                    <a:pt x="8" y="108"/>
                  </a:moveTo>
                  <a:cubicBezTo>
                    <a:pt x="107" y="108"/>
                    <a:pt x="207" y="108"/>
                    <a:pt x="306" y="108"/>
                  </a:cubicBezTo>
                  <a:cubicBezTo>
                    <a:pt x="310" y="92"/>
                    <a:pt x="304" y="76"/>
                    <a:pt x="292" y="68"/>
                  </a:cubicBezTo>
                  <a:cubicBezTo>
                    <a:pt x="277" y="59"/>
                    <a:pt x="262" y="65"/>
                    <a:pt x="260" y="65"/>
                  </a:cubicBezTo>
                  <a:cubicBezTo>
                    <a:pt x="265" y="52"/>
                    <a:pt x="262" y="36"/>
                    <a:pt x="251" y="27"/>
                  </a:cubicBezTo>
                  <a:cubicBezTo>
                    <a:pt x="241" y="18"/>
                    <a:pt x="226" y="16"/>
                    <a:pt x="213" y="22"/>
                  </a:cubicBezTo>
                  <a:cubicBezTo>
                    <a:pt x="211" y="20"/>
                    <a:pt x="190" y="0"/>
                    <a:pt x="159" y="6"/>
                  </a:cubicBezTo>
                  <a:cubicBezTo>
                    <a:pt x="127" y="12"/>
                    <a:pt x="115" y="39"/>
                    <a:pt x="114" y="42"/>
                  </a:cubicBezTo>
                  <a:cubicBezTo>
                    <a:pt x="108" y="32"/>
                    <a:pt x="97" y="27"/>
                    <a:pt x="86" y="29"/>
                  </a:cubicBezTo>
                  <a:cubicBezTo>
                    <a:pt x="73" y="31"/>
                    <a:pt x="64" y="42"/>
                    <a:pt x="64" y="56"/>
                  </a:cubicBezTo>
                  <a:cubicBezTo>
                    <a:pt x="50" y="48"/>
                    <a:pt x="32" y="49"/>
                    <a:pt x="20" y="59"/>
                  </a:cubicBezTo>
                  <a:cubicBezTo>
                    <a:pt x="5" y="70"/>
                    <a:pt x="0" y="90"/>
                    <a:pt x="8" y="108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Sľiḋê"/>
            <p:cNvSpPr/>
            <p:nvPr/>
          </p:nvSpPr>
          <p:spPr bwMode="auto">
            <a:xfrm>
              <a:off x="4499739" y="5406897"/>
              <a:ext cx="18348" cy="236688"/>
            </a:xfrm>
            <a:custGeom>
              <a:avLst/>
              <a:gdLst>
                <a:gd name="T0" fmla="*/ 3 w 5"/>
                <a:gd name="T1" fmla="*/ 62 h 62"/>
                <a:gd name="T2" fmla="*/ 0 w 5"/>
                <a:gd name="T3" fmla="*/ 60 h 62"/>
                <a:gd name="T4" fmla="*/ 0 w 5"/>
                <a:gd name="T5" fmla="*/ 3 h 62"/>
                <a:gd name="T6" fmla="*/ 3 w 5"/>
                <a:gd name="T7" fmla="*/ 0 h 62"/>
                <a:gd name="T8" fmla="*/ 5 w 5"/>
                <a:gd name="T9" fmla="*/ 3 h 62"/>
                <a:gd name="T10" fmla="*/ 5 w 5"/>
                <a:gd name="T11" fmla="*/ 60 h 62"/>
                <a:gd name="T12" fmla="*/ 3 w 5"/>
                <a:gd name="T13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2">
                  <a:moveTo>
                    <a:pt x="3" y="62"/>
                  </a:moveTo>
                  <a:cubicBezTo>
                    <a:pt x="1" y="62"/>
                    <a:pt x="0" y="61"/>
                    <a:pt x="0" y="6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1"/>
                    <a:pt x="4" y="62"/>
                    <a:pt x="3" y="62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şlíďe"/>
            <p:cNvSpPr/>
            <p:nvPr/>
          </p:nvSpPr>
          <p:spPr bwMode="auto">
            <a:xfrm>
              <a:off x="4527260" y="5441759"/>
              <a:ext cx="244027" cy="132104"/>
            </a:xfrm>
            <a:custGeom>
              <a:avLst/>
              <a:gdLst>
                <a:gd name="T0" fmla="*/ 2 w 64"/>
                <a:gd name="T1" fmla="*/ 35 h 35"/>
                <a:gd name="T2" fmla="*/ 0 w 64"/>
                <a:gd name="T3" fmla="*/ 34 h 35"/>
                <a:gd name="T4" fmla="*/ 1 w 64"/>
                <a:gd name="T5" fmla="*/ 31 h 35"/>
                <a:gd name="T6" fmla="*/ 60 w 64"/>
                <a:gd name="T7" fmla="*/ 1 h 35"/>
                <a:gd name="T8" fmla="*/ 63 w 64"/>
                <a:gd name="T9" fmla="*/ 2 h 35"/>
                <a:gd name="T10" fmla="*/ 62 w 64"/>
                <a:gd name="T11" fmla="*/ 5 h 35"/>
                <a:gd name="T12" fmla="*/ 3 w 64"/>
                <a:gd name="T13" fmla="*/ 35 h 35"/>
                <a:gd name="T14" fmla="*/ 2 w 64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35">
                  <a:moveTo>
                    <a:pt x="2" y="35"/>
                  </a:moveTo>
                  <a:cubicBezTo>
                    <a:pt x="2" y="35"/>
                    <a:pt x="1" y="35"/>
                    <a:pt x="0" y="34"/>
                  </a:cubicBezTo>
                  <a:cubicBezTo>
                    <a:pt x="0" y="33"/>
                    <a:pt x="0" y="31"/>
                    <a:pt x="1" y="3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1" y="0"/>
                    <a:pt x="63" y="1"/>
                    <a:pt x="63" y="2"/>
                  </a:cubicBezTo>
                  <a:cubicBezTo>
                    <a:pt x="64" y="3"/>
                    <a:pt x="63" y="4"/>
                    <a:pt x="62" y="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2" y="35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š1îďè"/>
            <p:cNvSpPr/>
            <p:nvPr/>
          </p:nvSpPr>
          <p:spPr bwMode="auto">
            <a:xfrm>
              <a:off x="4255712" y="5428914"/>
              <a:ext cx="187148" cy="152288"/>
            </a:xfrm>
            <a:custGeom>
              <a:avLst/>
              <a:gdLst>
                <a:gd name="T0" fmla="*/ 46 w 49"/>
                <a:gd name="T1" fmla="*/ 40 h 40"/>
                <a:gd name="T2" fmla="*/ 45 w 49"/>
                <a:gd name="T3" fmla="*/ 39 h 40"/>
                <a:gd name="T4" fmla="*/ 1 w 49"/>
                <a:gd name="T5" fmla="*/ 4 h 40"/>
                <a:gd name="T6" fmla="*/ 1 w 49"/>
                <a:gd name="T7" fmla="*/ 1 h 40"/>
                <a:gd name="T8" fmla="*/ 4 w 49"/>
                <a:gd name="T9" fmla="*/ 0 h 40"/>
                <a:gd name="T10" fmla="*/ 48 w 49"/>
                <a:gd name="T11" fmla="*/ 36 h 40"/>
                <a:gd name="T12" fmla="*/ 48 w 49"/>
                <a:gd name="T13" fmla="*/ 39 h 40"/>
                <a:gd name="T14" fmla="*/ 46 w 49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40">
                  <a:moveTo>
                    <a:pt x="46" y="40"/>
                  </a:moveTo>
                  <a:cubicBezTo>
                    <a:pt x="46" y="40"/>
                    <a:pt x="45" y="40"/>
                    <a:pt x="45" y="3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7"/>
                    <a:pt x="49" y="38"/>
                    <a:pt x="48" y="39"/>
                  </a:cubicBezTo>
                  <a:cubicBezTo>
                    <a:pt x="48" y="40"/>
                    <a:pt x="47" y="40"/>
                    <a:pt x="46" y="40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ṧḻïḓe"/>
            <p:cNvSpPr/>
            <p:nvPr/>
          </p:nvSpPr>
          <p:spPr bwMode="auto">
            <a:xfrm>
              <a:off x="4973113" y="5159202"/>
              <a:ext cx="18348" cy="453192"/>
            </a:xfrm>
            <a:custGeom>
              <a:avLst/>
              <a:gdLst>
                <a:gd name="T0" fmla="*/ 2 w 5"/>
                <a:gd name="T1" fmla="*/ 119 h 119"/>
                <a:gd name="T2" fmla="*/ 0 w 5"/>
                <a:gd name="T3" fmla="*/ 117 h 119"/>
                <a:gd name="T4" fmla="*/ 0 w 5"/>
                <a:gd name="T5" fmla="*/ 2 h 119"/>
                <a:gd name="T6" fmla="*/ 2 w 5"/>
                <a:gd name="T7" fmla="*/ 0 h 119"/>
                <a:gd name="T8" fmla="*/ 5 w 5"/>
                <a:gd name="T9" fmla="*/ 2 h 119"/>
                <a:gd name="T10" fmla="*/ 5 w 5"/>
                <a:gd name="T11" fmla="*/ 117 h 119"/>
                <a:gd name="T12" fmla="*/ 2 w 5"/>
                <a:gd name="T1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9">
                  <a:moveTo>
                    <a:pt x="2" y="119"/>
                  </a:moveTo>
                  <a:cubicBezTo>
                    <a:pt x="1" y="119"/>
                    <a:pt x="0" y="118"/>
                    <a:pt x="0" y="1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8"/>
                    <a:pt x="4" y="119"/>
                    <a:pt x="2" y="119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Sľíḋè"/>
            <p:cNvSpPr/>
            <p:nvPr/>
          </p:nvSpPr>
          <p:spPr bwMode="auto">
            <a:xfrm>
              <a:off x="4984122" y="5333506"/>
              <a:ext cx="431175" cy="148618"/>
            </a:xfrm>
            <a:custGeom>
              <a:avLst/>
              <a:gdLst>
                <a:gd name="T0" fmla="*/ 2 w 113"/>
                <a:gd name="T1" fmla="*/ 39 h 39"/>
                <a:gd name="T2" fmla="*/ 0 w 113"/>
                <a:gd name="T3" fmla="*/ 37 h 39"/>
                <a:gd name="T4" fmla="*/ 2 w 113"/>
                <a:gd name="T5" fmla="*/ 34 h 39"/>
                <a:gd name="T6" fmla="*/ 110 w 113"/>
                <a:gd name="T7" fmla="*/ 0 h 39"/>
                <a:gd name="T8" fmla="*/ 113 w 113"/>
                <a:gd name="T9" fmla="*/ 2 h 39"/>
                <a:gd name="T10" fmla="*/ 111 w 113"/>
                <a:gd name="T11" fmla="*/ 5 h 39"/>
                <a:gd name="T12" fmla="*/ 3 w 113"/>
                <a:gd name="T13" fmla="*/ 38 h 39"/>
                <a:gd name="T14" fmla="*/ 2 w 11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39">
                  <a:moveTo>
                    <a:pt x="2" y="39"/>
                  </a:moveTo>
                  <a:cubicBezTo>
                    <a:pt x="1" y="39"/>
                    <a:pt x="0" y="38"/>
                    <a:pt x="0" y="37"/>
                  </a:cubicBezTo>
                  <a:cubicBezTo>
                    <a:pt x="0" y="36"/>
                    <a:pt x="0" y="34"/>
                    <a:pt x="2" y="3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2" y="1"/>
                    <a:pt x="113" y="2"/>
                  </a:cubicBezTo>
                  <a:cubicBezTo>
                    <a:pt x="113" y="3"/>
                    <a:pt x="112" y="5"/>
                    <a:pt x="111" y="5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2" y="39"/>
                    <a:pt x="2" y="39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Sļîḓè"/>
            <p:cNvSpPr/>
            <p:nvPr/>
          </p:nvSpPr>
          <p:spPr bwMode="auto">
            <a:xfrm>
              <a:off x="5202460" y="5258280"/>
              <a:ext cx="56879" cy="144948"/>
            </a:xfrm>
            <a:custGeom>
              <a:avLst/>
              <a:gdLst>
                <a:gd name="T0" fmla="*/ 3 w 15"/>
                <a:gd name="T1" fmla="*/ 38 h 38"/>
                <a:gd name="T2" fmla="*/ 2 w 15"/>
                <a:gd name="T3" fmla="*/ 38 h 38"/>
                <a:gd name="T4" fmla="*/ 1 w 15"/>
                <a:gd name="T5" fmla="*/ 35 h 38"/>
                <a:gd name="T6" fmla="*/ 10 w 15"/>
                <a:gd name="T7" fmla="*/ 2 h 38"/>
                <a:gd name="T8" fmla="*/ 13 w 15"/>
                <a:gd name="T9" fmla="*/ 0 h 38"/>
                <a:gd name="T10" fmla="*/ 15 w 15"/>
                <a:gd name="T11" fmla="*/ 3 h 38"/>
                <a:gd name="T12" fmla="*/ 5 w 15"/>
                <a:gd name="T13" fmla="*/ 37 h 38"/>
                <a:gd name="T14" fmla="*/ 3 w 15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8">
                  <a:moveTo>
                    <a:pt x="3" y="38"/>
                  </a:moveTo>
                  <a:cubicBezTo>
                    <a:pt x="3" y="38"/>
                    <a:pt x="3" y="38"/>
                    <a:pt x="2" y="38"/>
                  </a:cubicBezTo>
                  <a:cubicBezTo>
                    <a:pt x="1" y="38"/>
                    <a:pt x="0" y="36"/>
                    <a:pt x="1" y="35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1"/>
                    <a:pt x="12" y="0"/>
                    <a:pt x="13" y="0"/>
                  </a:cubicBezTo>
                  <a:cubicBezTo>
                    <a:pt x="14" y="1"/>
                    <a:pt x="15" y="2"/>
                    <a:pt x="15" y="3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8"/>
                    <a:pt x="4" y="38"/>
                    <a:pt x="3" y="38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śḷiḓé"/>
            <p:cNvSpPr/>
            <p:nvPr/>
          </p:nvSpPr>
          <p:spPr bwMode="auto">
            <a:xfrm>
              <a:off x="5853809" y="1313496"/>
              <a:ext cx="555940" cy="218340"/>
            </a:xfrm>
            <a:custGeom>
              <a:avLst/>
              <a:gdLst>
                <a:gd name="T0" fmla="*/ 146 w 146"/>
                <a:gd name="T1" fmla="*/ 8 h 57"/>
                <a:gd name="T2" fmla="*/ 146 w 146"/>
                <a:gd name="T3" fmla="*/ 49 h 57"/>
                <a:gd name="T4" fmla="*/ 142 w 146"/>
                <a:gd name="T5" fmla="*/ 57 h 57"/>
                <a:gd name="T6" fmla="*/ 123 w 146"/>
                <a:gd name="T7" fmla="*/ 57 h 57"/>
                <a:gd name="T8" fmla="*/ 73 w 146"/>
                <a:gd name="T9" fmla="*/ 52 h 57"/>
                <a:gd name="T10" fmla="*/ 22 w 146"/>
                <a:gd name="T11" fmla="*/ 57 h 57"/>
                <a:gd name="T12" fmla="*/ 4 w 146"/>
                <a:gd name="T13" fmla="*/ 57 h 57"/>
                <a:gd name="T14" fmla="*/ 0 w 146"/>
                <a:gd name="T15" fmla="*/ 49 h 57"/>
                <a:gd name="T16" fmla="*/ 0 w 146"/>
                <a:gd name="T17" fmla="*/ 8 h 57"/>
                <a:gd name="T18" fmla="*/ 4 w 146"/>
                <a:gd name="T19" fmla="*/ 0 h 57"/>
                <a:gd name="T20" fmla="*/ 142 w 146"/>
                <a:gd name="T21" fmla="*/ 0 h 57"/>
                <a:gd name="T22" fmla="*/ 146 w 146"/>
                <a:gd name="T23" fmla="*/ 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57">
                  <a:moveTo>
                    <a:pt x="146" y="8"/>
                  </a:moveTo>
                  <a:cubicBezTo>
                    <a:pt x="146" y="49"/>
                    <a:pt x="146" y="49"/>
                    <a:pt x="146" y="49"/>
                  </a:cubicBezTo>
                  <a:cubicBezTo>
                    <a:pt x="146" y="53"/>
                    <a:pt x="144" y="57"/>
                    <a:pt x="142" y="57"/>
                  </a:cubicBezTo>
                  <a:cubicBezTo>
                    <a:pt x="123" y="57"/>
                    <a:pt x="123" y="57"/>
                    <a:pt x="123" y="57"/>
                  </a:cubicBezTo>
                  <a:cubicBezTo>
                    <a:pt x="107" y="54"/>
                    <a:pt x="90" y="52"/>
                    <a:pt x="73" y="52"/>
                  </a:cubicBezTo>
                  <a:cubicBezTo>
                    <a:pt x="56" y="52"/>
                    <a:pt x="39" y="54"/>
                    <a:pt x="22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3"/>
                    <a:pt x="0" y="4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4"/>
                    <a:pt x="146" y="8"/>
                  </a:cubicBezTo>
                  <a:close/>
                </a:path>
              </a:pathLst>
            </a:cu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şļîďé"/>
            <p:cNvSpPr/>
            <p:nvPr/>
          </p:nvSpPr>
          <p:spPr bwMode="auto">
            <a:xfrm>
              <a:off x="5773079" y="1043782"/>
              <a:ext cx="717401" cy="315583"/>
            </a:xfrm>
            <a:custGeom>
              <a:avLst/>
              <a:gdLst>
                <a:gd name="T0" fmla="*/ 4 w 188"/>
                <a:gd name="T1" fmla="*/ 0 h 83"/>
                <a:gd name="T2" fmla="*/ 184 w 188"/>
                <a:gd name="T3" fmla="*/ 0 h 83"/>
                <a:gd name="T4" fmla="*/ 188 w 188"/>
                <a:gd name="T5" fmla="*/ 4 h 83"/>
                <a:gd name="T6" fmla="*/ 188 w 188"/>
                <a:gd name="T7" fmla="*/ 79 h 83"/>
                <a:gd name="T8" fmla="*/ 184 w 188"/>
                <a:gd name="T9" fmla="*/ 83 h 83"/>
                <a:gd name="T10" fmla="*/ 163 w 188"/>
                <a:gd name="T11" fmla="*/ 83 h 83"/>
                <a:gd name="T12" fmla="*/ 25 w 188"/>
                <a:gd name="T13" fmla="*/ 83 h 83"/>
                <a:gd name="T14" fmla="*/ 4 w 188"/>
                <a:gd name="T15" fmla="*/ 83 h 83"/>
                <a:gd name="T16" fmla="*/ 0 w 188"/>
                <a:gd name="T17" fmla="*/ 79 h 83"/>
                <a:gd name="T18" fmla="*/ 0 w 188"/>
                <a:gd name="T19" fmla="*/ 4 h 83"/>
                <a:gd name="T20" fmla="*/ 4 w 188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83">
                  <a:moveTo>
                    <a:pt x="4" y="0"/>
                  </a:move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79"/>
                    <a:pt x="188" y="79"/>
                    <a:pt x="188" y="79"/>
                  </a:cubicBezTo>
                  <a:cubicBezTo>
                    <a:pt x="188" y="81"/>
                    <a:pt x="186" y="83"/>
                    <a:pt x="184" y="83"/>
                  </a:cubicBezTo>
                  <a:cubicBezTo>
                    <a:pt x="163" y="83"/>
                    <a:pt x="163" y="83"/>
                    <a:pt x="163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2" y="83"/>
                    <a:pt x="0" y="81"/>
                    <a:pt x="0" y="7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F8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ş1îḍe"/>
            <p:cNvSpPr/>
            <p:nvPr/>
          </p:nvSpPr>
          <p:spPr bwMode="auto">
            <a:xfrm>
              <a:off x="5938209" y="1462113"/>
              <a:ext cx="385305" cy="12844"/>
            </a:xfrm>
            <a:custGeom>
              <a:avLst/>
              <a:gdLst>
                <a:gd name="T0" fmla="*/ 101 w 101"/>
                <a:gd name="T1" fmla="*/ 3 h 3"/>
                <a:gd name="T2" fmla="*/ 0 w 101"/>
                <a:gd name="T3" fmla="*/ 3 h 3"/>
                <a:gd name="T4" fmla="*/ 51 w 101"/>
                <a:gd name="T5" fmla="*/ 0 h 3"/>
                <a:gd name="T6" fmla="*/ 101 w 10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" h="3">
                  <a:moveTo>
                    <a:pt x="10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7" y="1"/>
                    <a:pt x="34" y="0"/>
                    <a:pt x="51" y="0"/>
                  </a:cubicBezTo>
                  <a:cubicBezTo>
                    <a:pt x="68" y="0"/>
                    <a:pt x="85" y="1"/>
                    <a:pt x="101" y="3"/>
                  </a:cubicBez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líḓe"/>
            <p:cNvSpPr/>
            <p:nvPr/>
          </p:nvSpPr>
          <p:spPr bwMode="auto">
            <a:xfrm>
              <a:off x="7629879" y="3493218"/>
              <a:ext cx="253200" cy="80730"/>
            </a:xfrm>
            <a:prstGeom prst="rect">
              <a:avLst/>
            </a:pr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şļïḓê"/>
            <p:cNvSpPr/>
            <p:nvPr/>
          </p:nvSpPr>
          <p:spPr bwMode="auto">
            <a:xfrm>
              <a:off x="4782296" y="1706139"/>
              <a:ext cx="361453" cy="258705"/>
            </a:xfrm>
            <a:custGeom>
              <a:avLst/>
              <a:gdLst>
                <a:gd name="T0" fmla="*/ 42 w 95"/>
                <a:gd name="T1" fmla="*/ 33 h 68"/>
                <a:gd name="T2" fmla="*/ 91 w 95"/>
                <a:gd name="T3" fmla="*/ 0 h 68"/>
                <a:gd name="T4" fmla="*/ 95 w 95"/>
                <a:gd name="T5" fmla="*/ 5 h 68"/>
                <a:gd name="T6" fmla="*/ 6 w 95"/>
                <a:gd name="T7" fmla="*/ 68 h 68"/>
                <a:gd name="T8" fmla="*/ 0 w 95"/>
                <a:gd name="T9" fmla="*/ 60 h 68"/>
                <a:gd name="T10" fmla="*/ 42 w 95"/>
                <a:gd name="T11" fmla="*/ 3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68">
                  <a:moveTo>
                    <a:pt x="42" y="33"/>
                  </a:moveTo>
                  <a:cubicBezTo>
                    <a:pt x="70" y="15"/>
                    <a:pt x="91" y="0"/>
                    <a:pt x="91" y="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0" y="60"/>
                    <a:pt x="0" y="60"/>
                    <a:pt x="0" y="60"/>
                  </a:cubicBezTo>
                  <a:lnTo>
                    <a:pt x="42" y="33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ṧlïdé"/>
            <p:cNvSpPr/>
            <p:nvPr/>
          </p:nvSpPr>
          <p:spPr bwMode="auto">
            <a:xfrm>
              <a:off x="4035538" y="1474957"/>
              <a:ext cx="4194315" cy="4183306"/>
            </a:xfrm>
            <a:custGeom>
              <a:avLst/>
              <a:gdLst>
                <a:gd name="T0" fmla="*/ 61 w 1100"/>
                <a:gd name="T1" fmla="*/ 548 h 1098"/>
                <a:gd name="T2" fmla="*/ 550 w 1100"/>
                <a:gd name="T3" fmla="*/ 1037 h 1098"/>
                <a:gd name="T4" fmla="*/ 692 w 1100"/>
                <a:gd name="T5" fmla="*/ 1016 h 1098"/>
                <a:gd name="T6" fmla="*/ 709 w 1100"/>
                <a:gd name="T7" fmla="*/ 1075 h 1098"/>
                <a:gd name="T8" fmla="*/ 707 w 1100"/>
                <a:gd name="T9" fmla="*/ 1075 h 1098"/>
                <a:gd name="T10" fmla="*/ 681 w 1100"/>
                <a:gd name="T11" fmla="*/ 1082 h 1098"/>
                <a:gd name="T12" fmla="*/ 550 w 1100"/>
                <a:gd name="T13" fmla="*/ 1098 h 1098"/>
                <a:gd name="T14" fmla="*/ 0 w 1100"/>
                <a:gd name="T15" fmla="*/ 548 h 1098"/>
                <a:gd name="T16" fmla="*/ 200 w 1100"/>
                <a:gd name="T17" fmla="*/ 123 h 1098"/>
                <a:gd name="T18" fmla="*/ 200 w 1100"/>
                <a:gd name="T19" fmla="*/ 123 h 1098"/>
                <a:gd name="T20" fmla="*/ 288 w 1100"/>
                <a:gd name="T21" fmla="*/ 64 h 1098"/>
                <a:gd name="T22" fmla="*/ 288 w 1100"/>
                <a:gd name="T23" fmla="*/ 64 h 1098"/>
                <a:gd name="T24" fmla="*/ 499 w 1100"/>
                <a:gd name="T25" fmla="*/ 0 h 1098"/>
                <a:gd name="T26" fmla="*/ 600 w 1100"/>
                <a:gd name="T27" fmla="*/ 0 h 1098"/>
                <a:gd name="T28" fmla="*/ 1100 w 1100"/>
                <a:gd name="T29" fmla="*/ 548 h 1098"/>
                <a:gd name="T30" fmla="*/ 1053 w 1100"/>
                <a:gd name="T31" fmla="*/ 771 h 1098"/>
                <a:gd name="T32" fmla="*/ 1044 w 1100"/>
                <a:gd name="T33" fmla="*/ 791 h 1098"/>
                <a:gd name="T34" fmla="*/ 989 w 1100"/>
                <a:gd name="T35" fmla="*/ 764 h 1098"/>
                <a:gd name="T36" fmla="*/ 1039 w 1100"/>
                <a:gd name="T37" fmla="*/ 548 h 1098"/>
                <a:gd name="T38" fmla="*/ 550 w 1100"/>
                <a:gd name="T39" fmla="*/ 58 h 1098"/>
                <a:gd name="T40" fmla="*/ 61 w 1100"/>
                <a:gd name="T41" fmla="*/ 548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0" h="1098">
                  <a:moveTo>
                    <a:pt x="61" y="548"/>
                  </a:moveTo>
                  <a:cubicBezTo>
                    <a:pt x="61" y="818"/>
                    <a:pt x="280" y="1037"/>
                    <a:pt x="550" y="1037"/>
                  </a:cubicBezTo>
                  <a:cubicBezTo>
                    <a:pt x="599" y="1037"/>
                    <a:pt x="647" y="1030"/>
                    <a:pt x="692" y="1016"/>
                  </a:cubicBezTo>
                  <a:cubicBezTo>
                    <a:pt x="709" y="1075"/>
                    <a:pt x="709" y="1075"/>
                    <a:pt x="709" y="1075"/>
                  </a:cubicBezTo>
                  <a:cubicBezTo>
                    <a:pt x="708" y="1075"/>
                    <a:pt x="707" y="1075"/>
                    <a:pt x="707" y="1075"/>
                  </a:cubicBezTo>
                  <a:cubicBezTo>
                    <a:pt x="698" y="1078"/>
                    <a:pt x="690" y="1080"/>
                    <a:pt x="681" y="1082"/>
                  </a:cubicBezTo>
                  <a:cubicBezTo>
                    <a:pt x="639" y="1092"/>
                    <a:pt x="595" y="1098"/>
                    <a:pt x="550" y="1098"/>
                  </a:cubicBezTo>
                  <a:cubicBezTo>
                    <a:pt x="246" y="1098"/>
                    <a:pt x="0" y="852"/>
                    <a:pt x="0" y="548"/>
                  </a:cubicBezTo>
                  <a:cubicBezTo>
                    <a:pt x="0" y="377"/>
                    <a:pt x="77" y="224"/>
                    <a:pt x="200" y="123"/>
                  </a:cubicBezTo>
                  <a:cubicBezTo>
                    <a:pt x="200" y="123"/>
                    <a:pt x="200" y="123"/>
                    <a:pt x="200" y="123"/>
                  </a:cubicBezTo>
                  <a:cubicBezTo>
                    <a:pt x="288" y="64"/>
                    <a:pt x="288" y="64"/>
                    <a:pt x="288" y="64"/>
                  </a:cubicBezTo>
                  <a:cubicBezTo>
                    <a:pt x="288" y="64"/>
                    <a:pt x="288" y="64"/>
                    <a:pt x="288" y="64"/>
                  </a:cubicBezTo>
                  <a:cubicBezTo>
                    <a:pt x="352" y="29"/>
                    <a:pt x="423" y="7"/>
                    <a:pt x="499" y="0"/>
                  </a:cubicBezTo>
                  <a:cubicBezTo>
                    <a:pt x="600" y="0"/>
                    <a:pt x="600" y="0"/>
                    <a:pt x="600" y="0"/>
                  </a:cubicBezTo>
                  <a:cubicBezTo>
                    <a:pt x="881" y="25"/>
                    <a:pt x="1100" y="261"/>
                    <a:pt x="1100" y="548"/>
                  </a:cubicBezTo>
                  <a:cubicBezTo>
                    <a:pt x="1100" y="627"/>
                    <a:pt x="1083" y="702"/>
                    <a:pt x="1053" y="771"/>
                  </a:cubicBezTo>
                  <a:cubicBezTo>
                    <a:pt x="1050" y="777"/>
                    <a:pt x="1047" y="784"/>
                    <a:pt x="1044" y="791"/>
                  </a:cubicBezTo>
                  <a:cubicBezTo>
                    <a:pt x="989" y="764"/>
                    <a:pt x="989" y="764"/>
                    <a:pt x="989" y="764"/>
                  </a:cubicBezTo>
                  <a:cubicBezTo>
                    <a:pt x="1021" y="699"/>
                    <a:pt x="1039" y="626"/>
                    <a:pt x="1039" y="548"/>
                  </a:cubicBezTo>
                  <a:cubicBezTo>
                    <a:pt x="1039" y="278"/>
                    <a:pt x="820" y="58"/>
                    <a:pt x="550" y="58"/>
                  </a:cubicBezTo>
                  <a:cubicBezTo>
                    <a:pt x="280" y="58"/>
                    <a:pt x="61" y="278"/>
                    <a:pt x="61" y="548"/>
                  </a:cubicBez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î$1iḋê"/>
            <p:cNvSpPr/>
            <p:nvPr/>
          </p:nvSpPr>
          <p:spPr bwMode="auto">
            <a:xfrm>
              <a:off x="4266721" y="1695131"/>
              <a:ext cx="3730115" cy="3730115"/>
            </a:xfrm>
            <a:custGeom>
              <a:avLst/>
              <a:gdLst>
                <a:gd name="T0" fmla="*/ 928 w 978"/>
                <a:gd name="T1" fmla="*/ 706 h 979"/>
                <a:gd name="T2" fmla="*/ 978 w 978"/>
                <a:gd name="T3" fmla="*/ 490 h 979"/>
                <a:gd name="T4" fmla="*/ 489 w 978"/>
                <a:gd name="T5" fmla="*/ 0 h 979"/>
                <a:gd name="T6" fmla="*/ 0 w 978"/>
                <a:gd name="T7" fmla="*/ 490 h 979"/>
                <a:gd name="T8" fmla="*/ 489 w 978"/>
                <a:gd name="T9" fmla="*/ 979 h 979"/>
                <a:gd name="T10" fmla="*/ 631 w 978"/>
                <a:gd name="T11" fmla="*/ 958 h 979"/>
                <a:gd name="T12" fmla="*/ 598 w 978"/>
                <a:gd name="T13" fmla="*/ 841 h 979"/>
                <a:gd name="T14" fmla="*/ 543 w 978"/>
                <a:gd name="T15" fmla="*/ 643 h 979"/>
                <a:gd name="T16" fmla="*/ 504 w 978"/>
                <a:gd name="T17" fmla="*/ 503 h 979"/>
                <a:gd name="T18" fmla="*/ 489 w 978"/>
                <a:gd name="T19" fmla="*/ 510 h 979"/>
                <a:gd name="T20" fmla="*/ 481 w 978"/>
                <a:gd name="T21" fmla="*/ 508 h 979"/>
                <a:gd name="T22" fmla="*/ 323 w 978"/>
                <a:gd name="T23" fmla="*/ 672 h 979"/>
                <a:gd name="T24" fmla="*/ 296 w 978"/>
                <a:gd name="T25" fmla="*/ 682 h 979"/>
                <a:gd name="T26" fmla="*/ 305 w 978"/>
                <a:gd name="T27" fmla="*/ 655 h 979"/>
                <a:gd name="T28" fmla="*/ 470 w 978"/>
                <a:gd name="T29" fmla="*/ 496 h 979"/>
                <a:gd name="T30" fmla="*/ 469 w 978"/>
                <a:gd name="T31" fmla="*/ 490 h 979"/>
                <a:gd name="T32" fmla="*/ 481 w 978"/>
                <a:gd name="T33" fmla="*/ 471 h 979"/>
                <a:gd name="T34" fmla="*/ 476 w 978"/>
                <a:gd name="T35" fmla="*/ 158 h 979"/>
                <a:gd name="T36" fmla="*/ 489 w 978"/>
                <a:gd name="T37" fmla="*/ 123 h 979"/>
                <a:gd name="T38" fmla="*/ 501 w 978"/>
                <a:gd name="T39" fmla="*/ 157 h 979"/>
                <a:gd name="T40" fmla="*/ 497 w 978"/>
                <a:gd name="T41" fmla="*/ 471 h 979"/>
                <a:gd name="T42" fmla="*/ 509 w 978"/>
                <a:gd name="T43" fmla="*/ 490 h 979"/>
                <a:gd name="T44" fmla="*/ 505 w 978"/>
                <a:gd name="T45" fmla="*/ 502 h 979"/>
                <a:gd name="T46" fmla="*/ 928 w 978"/>
                <a:gd name="T47" fmla="*/ 706 h 979"/>
                <a:gd name="T48" fmla="*/ 882 w 978"/>
                <a:gd name="T49" fmla="*/ 472 h 979"/>
                <a:gd name="T50" fmla="*/ 948 w 978"/>
                <a:gd name="T51" fmla="*/ 472 h 979"/>
                <a:gd name="T52" fmla="*/ 948 w 978"/>
                <a:gd name="T53" fmla="*/ 493 h 979"/>
                <a:gd name="T54" fmla="*/ 882 w 978"/>
                <a:gd name="T55" fmla="*/ 493 h 979"/>
                <a:gd name="T56" fmla="*/ 882 w 978"/>
                <a:gd name="T57" fmla="*/ 472 h 979"/>
                <a:gd name="T58" fmla="*/ 91 w 978"/>
                <a:gd name="T59" fmla="*/ 493 h 979"/>
                <a:gd name="T60" fmla="*/ 25 w 978"/>
                <a:gd name="T61" fmla="*/ 493 h 979"/>
                <a:gd name="T62" fmla="*/ 25 w 978"/>
                <a:gd name="T63" fmla="*/ 472 h 979"/>
                <a:gd name="T64" fmla="*/ 91 w 978"/>
                <a:gd name="T65" fmla="*/ 472 h 979"/>
                <a:gd name="T66" fmla="*/ 91 w 978"/>
                <a:gd name="T67" fmla="*/ 493 h 979"/>
                <a:gd name="T68" fmla="*/ 476 w 978"/>
                <a:gd name="T69" fmla="*/ 878 h 979"/>
                <a:gd name="T70" fmla="*/ 497 w 978"/>
                <a:gd name="T71" fmla="*/ 878 h 979"/>
                <a:gd name="T72" fmla="*/ 497 w 978"/>
                <a:gd name="T73" fmla="*/ 945 h 979"/>
                <a:gd name="T74" fmla="*/ 476 w 978"/>
                <a:gd name="T75" fmla="*/ 945 h 979"/>
                <a:gd name="T76" fmla="*/ 476 w 978"/>
                <a:gd name="T77" fmla="*/ 878 h 979"/>
                <a:gd name="T78" fmla="*/ 497 w 978"/>
                <a:gd name="T79" fmla="*/ 88 h 979"/>
                <a:gd name="T80" fmla="*/ 476 w 978"/>
                <a:gd name="T81" fmla="*/ 88 h 979"/>
                <a:gd name="T82" fmla="*/ 476 w 978"/>
                <a:gd name="T83" fmla="*/ 21 h 979"/>
                <a:gd name="T84" fmla="*/ 497 w 978"/>
                <a:gd name="T85" fmla="*/ 21 h 979"/>
                <a:gd name="T86" fmla="*/ 497 w 978"/>
                <a:gd name="T87" fmla="*/ 8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78" h="979">
                  <a:moveTo>
                    <a:pt x="928" y="706"/>
                  </a:moveTo>
                  <a:cubicBezTo>
                    <a:pt x="960" y="641"/>
                    <a:pt x="978" y="568"/>
                    <a:pt x="978" y="490"/>
                  </a:cubicBezTo>
                  <a:cubicBezTo>
                    <a:pt x="978" y="220"/>
                    <a:pt x="759" y="0"/>
                    <a:pt x="489" y="0"/>
                  </a:cubicBezTo>
                  <a:cubicBezTo>
                    <a:pt x="219" y="0"/>
                    <a:pt x="0" y="220"/>
                    <a:pt x="0" y="490"/>
                  </a:cubicBezTo>
                  <a:cubicBezTo>
                    <a:pt x="0" y="760"/>
                    <a:pt x="219" y="979"/>
                    <a:pt x="489" y="979"/>
                  </a:cubicBezTo>
                  <a:cubicBezTo>
                    <a:pt x="538" y="979"/>
                    <a:pt x="586" y="972"/>
                    <a:pt x="631" y="958"/>
                  </a:cubicBezTo>
                  <a:cubicBezTo>
                    <a:pt x="598" y="841"/>
                    <a:pt x="598" y="841"/>
                    <a:pt x="598" y="841"/>
                  </a:cubicBezTo>
                  <a:cubicBezTo>
                    <a:pt x="543" y="643"/>
                    <a:pt x="543" y="643"/>
                    <a:pt x="543" y="643"/>
                  </a:cubicBezTo>
                  <a:cubicBezTo>
                    <a:pt x="504" y="503"/>
                    <a:pt x="504" y="503"/>
                    <a:pt x="504" y="503"/>
                  </a:cubicBezTo>
                  <a:cubicBezTo>
                    <a:pt x="500" y="507"/>
                    <a:pt x="495" y="510"/>
                    <a:pt x="489" y="510"/>
                  </a:cubicBezTo>
                  <a:cubicBezTo>
                    <a:pt x="486" y="510"/>
                    <a:pt x="483" y="509"/>
                    <a:pt x="481" y="508"/>
                  </a:cubicBezTo>
                  <a:cubicBezTo>
                    <a:pt x="323" y="672"/>
                    <a:pt x="323" y="672"/>
                    <a:pt x="323" y="67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305" y="655"/>
                    <a:pt x="305" y="655"/>
                    <a:pt x="305" y="655"/>
                  </a:cubicBezTo>
                  <a:cubicBezTo>
                    <a:pt x="470" y="496"/>
                    <a:pt x="470" y="496"/>
                    <a:pt x="470" y="496"/>
                  </a:cubicBezTo>
                  <a:cubicBezTo>
                    <a:pt x="469" y="494"/>
                    <a:pt x="469" y="492"/>
                    <a:pt x="469" y="490"/>
                  </a:cubicBezTo>
                  <a:cubicBezTo>
                    <a:pt x="469" y="481"/>
                    <a:pt x="474" y="474"/>
                    <a:pt x="481" y="471"/>
                  </a:cubicBezTo>
                  <a:cubicBezTo>
                    <a:pt x="476" y="158"/>
                    <a:pt x="476" y="158"/>
                    <a:pt x="476" y="158"/>
                  </a:cubicBezTo>
                  <a:cubicBezTo>
                    <a:pt x="489" y="123"/>
                    <a:pt x="489" y="123"/>
                    <a:pt x="489" y="123"/>
                  </a:cubicBezTo>
                  <a:cubicBezTo>
                    <a:pt x="501" y="157"/>
                    <a:pt x="501" y="157"/>
                    <a:pt x="501" y="157"/>
                  </a:cubicBezTo>
                  <a:cubicBezTo>
                    <a:pt x="497" y="471"/>
                    <a:pt x="497" y="471"/>
                    <a:pt x="497" y="471"/>
                  </a:cubicBezTo>
                  <a:cubicBezTo>
                    <a:pt x="504" y="474"/>
                    <a:pt x="509" y="481"/>
                    <a:pt x="509" y="490"/>
                  </a:cubicBezTo>
                  <a:cubicBezTo>
                    <a:pt x="509" y="494"/>
                    <a:pt x="507" y="499"/>
                    <a:pt x="505" y="502"/>
                  </a:cubicBezTo>
                  <a:lnTo>
                    <a:pt x="928" y="706"/>
                  </a:lnTo>
                  <a:close/>
                  <a:moveTo>
                    <a:pt x="882" y="472"/>
                  </a:moveTo>
                  <a:cubicBezTo>
                    <a:pt x="948" y="472"/>
                    <a:pt x="948" y="472"/>
                    <a:pt x="948" y="472"/>
                  </a:cubicBezTo>
                  <a:cubicBezTo>
                    <a:pt x="948" y="493"/>
                    <a:pt x="948" y="493"/>
                    <a:pt x="948" y="493"/>
                  </a:cubicBezTo>
                  <a:cubicBezTo>
                    <a:pt x="882" y="493"/>
                    <a:pt x="882" y="493"/>
                    <a:pt x="882" y="493"/>
                  </a:cubicBezTo>
                  <a:lnTo>
                    <a:pt x="882" y="472"/>
                  </a:lnTo>
                  <a:close/>
                  <a:moveTo>
                    <a:pt x="91" y="493"/>
                  </a:moveTo>
                  <a:cubicBezTo>
                    <a:pt x="25" y="493"/>
                    <a:pt x="25" y="493"/>
                    <a:pt x="25" y="493"/>
                  </a:cubicBezTo>
                  <a:cubicBezTo>
                    <a:pt x="25" y="472"/>
                    <a:pt x="25" y="472"/>
                    <a:pt x="25" y="472"/>
                  </a:cubicBezTo>
                  <a:cubicBezTo>
                    <a:pt x="91" y="472"/>
                    <a:pt x="91" y="472"/>
                    <a:pt x="91" y="472"/>
                  </a:cubicBezTo>
                  <a:lnTo>
                    <a:pt x="91" y="493"/>
                  </a:lnTo>
                  <a:close/>
                  <a:moveTo>
                    <a:pt x="476" y="878"/>
                  </a:moveTo>
                  <a:cubicBezTo>
                    <a:pt x="497" y="878"/>
                    <a:pt x="497" y="878"/>
                    <a:pt x="497" y="878"/>
                  </a:cubicBezTo>
                  <a:cubicBezTo>
                    <a:pt x="497" y="945"/>
                    <a:pt x="497" y="945"/>
                    <a:pt x="497" y="945"/>
                  </a:cubicBezTo>
                  <a:cubicBezTo>
                    <a:pt x="476" y="945"/>
                    <a:pt x="476" y="945"/>
                    <a:pt x="476" y="945"/>
                  </a:cubicBezTo>
                  <a:lnTo>
                    <a:pt x="476" y="878"/>
                  </a:lnTo>
                  <a:close/>
                  <a:moveTo>
                    <a:pt x="497" y="88"/>
                  </a:moveTo>
                  <a:cubicBezTo>
                    <a:pt x="476" y="88"/>
                    <a:pt x="476" y="88"/>
                    <a:pt x="476" y="88"/>
                  </a:cubicBezTo>
                  <a:cubicBezTo>
                    <a:pt x="476" y="21"/>
                    <a:pt x="476" y="21"/>
                    <a:pt x="476" y="21"/>
                  </a:cubicBezTo>
                  <a:cubicBezTo>
                    <a:pt x="497" y="21"/>
                    <a:pt x="497" y="21"/>
                    <a:pt x="497" y="21"/>
                  </a:cubicBezTo>
                  <a:lnTo>
                    <a:pt x="497" y="88"/>
                  </a:lnTo>
                  <a:close/>
                </a:path>
              </a:pathLst>
            </a:cu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ŝ1îḋè"/>
            <p:cNvSpPr/>
            <p:nvPr/>
          </p:nvSpPr>
          <p:spPr bwMode="auto">
            <a:xfrm>
              <a:off x="6185904" y="3603306"/>
              <a:ext cx="7339" cy="9174"/>
            </a:xfrm>
            <a:custGeom>
              <a:avLst/>
              <a:gdLst>
                <a:gd name="T0" fmla="*/ 2 w 2"/>
                <a:gd name="T1" fmla="*/ 1 h 2"/>
                <a:gd name="T2" fmla="*/ 1 w 2"/>
                <a:gd name="T3" fmla="*/ 2 h 2"/>
                <a:gd name="T4" fmla="*/ 0 w 2"/>
                <a:gd name="T5" fmla="*/ 0 h 2"/>
                <a:gd name="T6" fmla="*/ 2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Sļíḋé"/>
            <p:cNvSpPr/>
            <p:nvPr/>
          </p:nvSpPr>
          <p:spPr bwMode="auto">
            <a:xfrm>
              <a:off x="6083156" y="5039940"/>
              <a:ext cx="78896" cy="256870"/>
            </a:xfrm>
            <a:prstGeom prst="rect">
              <a:avLst/>
            </a:prstGeom>
            <a:solidFill>
              <a:srgbClr val="3EBF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ṩļîḓê"/>
            <p:cNvSpPr/>
            <p:nvPr/>
          </p:nvSpPr>
          <p:spPr bwMode="auto">
            <a:xfrm>
              <a:off x="6083156" y="1775861"/>
              <a:ext cx="78896" cy="255035"/>
            </a:xfrm>
            <a:prstGeom prst="rect">
              <a:avLst/>
            </a:pr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ṧ1îde"/>
            <p:cNvSpPr/>
            <p:nvPr/>
          </p:nvSpPr>
          <p:spPr bwMode="auto">
            <a:xfrm>
              <a:off x="6083156" y="2163000"/>
              <a:ext cx="95409" cy="1326549"/>
            </a:xfrm>
            <a:custGeom>
              <a:avLst/>
              <a:gdLst>
                <a:gd name="T0" fmla="*/ 25 w 25"/>
                <a:gd name="T1" fmla="*/ 34 h 348"/>
                <a:gd name="T2" fmla="*/ 21 w 25"/>
                <a:gd name="T3" fmla="*/ 348 h 348"/>
                <a:gd name="T4" fmla="*/ 13 w 25"/>
                <a:gd name="T5" fmla="*/ 347 h 348"/>
                <a:gd name="T6" fmla="*/ 5 w 25"/>
                <a:gd name="T7" fmla="*/ 348 h 348"/>
                <a:gd name="T8" fmla="*/ 0 w 25"/>
                <a:gd name="T9" fmla="*/ 35 h 348"/>
                <a:gd name="T10" fmla="*/ 13 w 25"/>
                <a:gd name="T11" fmla="*/ 0 h 348"/>
                <a:gd name="T12" fmla="*/ 25 w 25"/>
                <a:gd name="T13" fmla="*/ 3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48">
                  <a:moveTo>
                    <a:pt x="25" y="34"/>
                  </a:moveTo>
                  <a:cubicBezTo>
                    <a:pt x="21" y="348"/>
                    <a:pt x="21" y="348"/>
                    <a:pt x="21" y="348"/>
                  </a:cubicBezTo>
                  <a:cubicBezTo>
                    <a:pt x="18" y="347"/>
                    <a:pt x="16" y="347"/>
                    <a:pt x="13" y="347"/>
                  </a:cubicBezTo>
                  <a:cubicBezTo>
                    <a:pt x="10" y="347"/>
                    <a:pt x="7" y="347"/>
                    <a:pt x="5" y="3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25" y="34"/>
                  </a:lnTo>
                  <a:close/>
                </a:path>
              </a:pathLst>
            </a:custGeom>
            <a:solidFill>
              <a:srgbClr val="F9F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ṡḻíďe"/>
            <p:cNvSpPr/>
            <p:nvPr/>
          </p:nvSpPr>
          <p:spPr bwMode="auto">
            <a:xfrm>
              <a:off x="5396947" y="3584958"/>
              <a:ext cx="704557" cy="708226"/>
            </a:xfrm>
            <a:custGeom>
              <a:avLst/>
              <a:gdLst>
                <a:gd name="T0" fmla="*/ 174 w 185"/>
                <a:gd name="T1" fmla="*/ 0 h 186"/>
                <a:gd name="T2" fmla="*/ 185 w 185"/>
                <a:gd name="T3" fmla="*/ 12 h 186"/>
                <a:gd name="T4" fmla="*/ 27 w 185"/>
                <a:gd name="T5" fmla="*/ 176 h 186"/>
                <a:gd name="T6" fmla="*/ 0 w 185"/>
                <a:gd name="T7" fmla="*/ 186 h 186"/>
                <a:gd name="T8" fmla="*/ 9 w 185"/>
                <a:gd name="T9" fmla="*/ 159 h 186"/>
                <a:gd name="T10" fmla="*/ 174 w 185"/>
                <a:gd name="T11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" h="186">
                  <a:moveTo>
                    <a:pt x="174" y="0"/>
                  </a:moveTo>
                  <a:cubicBezTo>
                    <a:pt x="176" y="6"/>
                    <a:pt x="180" y="10"/>
                    <a:pt x="185" y="12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9" y="159"/>
                    <a:pt x="9" y="159"/>
                    <a:pt x="9" y="159"/>
                  </a:cubicBezTo>
                  <a:lnTo>
                    <a:pt x="174" y="0"/>
                  </a:lnTo>
                  <a:close/>
                </a:path>
              </a:pathLst>
            </a:custGeom>
            <a:solidFill>
              <a:srgbClr val="F9F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śḻíḓe"/>
            <p:cNvSpPr/>
            <p:nvPr/>
          </p:nvSpPr>
          <p:spPr bwMode="auto">
            <a:xfrm>
              <a:off x="4828165" y="1539174"/>
              <a:ext cx="311913" cy="293565"/>
            </a:xfrm>
            <a:custGeom>
              <a:avLst/>
              <a:gdLst>
                <a:gd name="T0" fmla="*/ 0 w 82"/>
                <a:gd name="T1" fmla="*/ 34 h 77"/>
                <a:gd name="T2" fmla="*/ 50 w 82"/>
                <a:gd name="T3" fmla="*/ 0 h 77"/>
                <a:gd name="T4" fmla="*/ 54 w 82"/>
                <a:gd name="T5" fmla="*/ 1 h 77"/>
                <a:gd name="T6" fmla="*/ 81 w 82"/>
                <a:gd name="T7" fmla="*/ 42 h 77"/>
                <a:gd name="T8" fmla="*/ 81 w 82"/>
                <a:gd name="T9" fmla="*/ 46 h 77"/>
                <a:gd name="T10" fmla="*/ 80 w 82"/>
                <a:gd name="T11" fmla="*/ 47 h 77"/>
                <a:gd name="T12" fmla="*/ 80 w 82"/>
                <a:gd name="T13" fmla="*/ 47 h 77"/>
                <a:gd name="T14" fmla="*/ 30 w 82"/>
                <a:gd name="T15" fmla="*/ 77 h 77"/>
                <a:gd name="T16" fmla="*/ 26 w 82"/>
                <a:gd name="T17" fmla="*/ 73 h 77"/>
                <a:gd name="T18" fmla="*/ 25 w 82"/>
                <a:gd name="T19" fmla="*/ 71 h 77"/>
                <a:gd name="T20" fmla="*/ 5 w 82"/>
                <a:gd name="T21" fmla="*/ 40 h 77"/>
                <a:gd name="T22" fmla="*/ 3 w 82"/>
                <a:gd name="T23" fmla="*/ 39 h 77"/>
                <a:gd name="T24" fmla="*/ 0 w 82"/>
                <a:gd name="T25" fmla="*/ 3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77">
                  <a:moveTo>
                    <a:pt x="0" y="34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3" y="0"/>
                    <a:pt x="54" y="1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2" y="43"/>
                    <a:pt x="82" y="45"/>
                    <a:pt x="81" y="46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62" y="56"/>
                    <a:pt x="46" y="66"/>
                    <a:pt x="30" y="77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3" y="39"/>
                    <a:pt x="3" y="39"/>
                    <a:pt x="3" y="39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FF8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ṧļiḍê"/>
            <p:cNvSpPr/>
            <p:nvPr/>
          </p:nvSpPr>
          <p:spPr bwMode="auto">
            <a:xfrm>
              <a:off x="4633678" y="1667608"/>
              <a:ext cx="308244" cy="306409"/>
            </a:xfrm>
            <a:custGeom>
              <a:avLst/>
              <a:gdLst>
                <a:gd name="T0" fmla="*/ 81 w 81"/>
                <a:gd name="T1" fmla="*/ 43 h 80"/>
                <a:gd name="T2" fmla="*/ 43 w 81"/>
                <a:gd name="T3" fmla="*/ 72 h 80"/>
                <a:gd name="T4" fmla="*/ 43 w 81"/>
                <a:gd name="T5" fmla="*/ 72 h 80"/>
                <a:gd name="T6" fmla="*/ 33 w 81"/>
                <a:gd name="T7" fmla="*/ 79 h 80"/>
                <a:gd name="T8" fmla="*/ 29 w 81"/>
                <a:gd name="T9" fmla="*/ 78 h 80"/>
                <a:gd name="T10" fmla="*/ 1 w 81"/>
                <a:gd name="T11" fmla="*/ 37 h 80"/>
                <a:gd name="T12" fmla="*/ 2 w 81"/>
                <a:gd name="T13" fmla="*/ 33 h 80"/>
                <a:gd name="T14" fmla="*/ 51 w 81"/>
                <a:gd name="T15" fmla="*/ 0 h 80"/>
                <a:gd name="T16" fmla="*/ 54 w 81"/>
                <a:gd name="T17" fmla="*/ 5 h 80"/>
                <a:gd name="T18" fmla="*/ 56 w 81"/>
                <a:gd name="T19" fmla="*/ 6 h 80"/>
                <a:gd name="T20" fmla="*/ 76 w 81"/>
                <a:gd name="T21" fmla="*/ 37 h 80"/>
                <a:gd name="T22" fmla="*/ 77 w 81"/>
                <a:gd name="T23" fmla="*/ 39 h 80"/>
                <a:gd name="T24" fmla="*/ 81 w 81"/>
                <a:gd name="T25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0">
                  <a:moveTo>
                    <a:pt x="81" y="43"/>
                  </a:moveTo>
                  <a:cubicBezTo>
                    <a:pt x="68" y="52"/>
                    <a:pt x="55" y="6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1" y="80"/>
                    <a:pt x="30" y="80"/>
                    <a:pt x="29" y="78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6"/>
                    <a:pt x="1" y="34"/>
                    <a:pt x="2" y="33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7" y="39"/>
                    <a:pt x="77" y="39"/>
                    <a:pt x="77" y="39"/>
                  </a:cubicBezTo>
                  <a:lnTo>
                    <a:pt x="81" y="43"/>
                  </a:lnTo>
                  <a:close/>
                </a:path>
              </a:pathLst>
            </a:custGeom>
            <a:solidFill>
              <a:srgbClr val="FF8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sļîḓé"/>
            <p:cNvSpPr/>
            <p:nvPr/>
          </p:nvSpPr>
          <p:spPr bwMode="auto">
            <a:xfrm>
              <a:off x="4362130" y="3493218"/>
              <a:ext cx="251366" cy="80730"/>
            </a:xfrm>
            <a:prstGeom prst="rect">
              <a:avLst/>
            </a:prstGeom>
            <a:solidFill>
              <a:srgbClr val="F9F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sļidè"/>
            <p:cNvSpPr/>
            <p:nvPr/>
          </p:nvSpPr>
          <p:spPr bwMode="auto">
            <a:xfrm>
              <a:off x="6083156" y="5039940"/>
              <a:ext cx="78896" cy="256870"/>
            </a:xfrm>
            <a:prstGeom prst="rect">
              <a:avLst/>
            </a:pr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šļïḋê"/>
            <p:cNvSpPr/>
            <p:nvPr/>
          </p:nvSpPr>
          <p:spPr bwMode="auto">
            <a:xfrm>
              <a:off x="4362130" y="3493218"/>
              <a:ext cx="251366" cy="80730"/>
            </a:xfrm>
            <a:prstGeom prst="rect">
              <a:avLst/>
            </a:pr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Slíḍê"/>
            <p:cNvSpPr/>
            <p:nvPr/>
          </p:nvSpPr>
          <p:spPr bwMode="auto">
            <a:xfrm>
              <a:off x="6055635" y="3485879"/>
              <a:ext cx="152288" cy="152288"/>
            </a:xfrm>
            <a:custGeom>
              <a:avLst/>
              <a:gdLst>
                <a:gd name="T0" fmla="*/ 40 w 40"/>
                <a:gd name="T1" fmla="*/ 20 h 40"/>
                <a:gd name="T2" fmla="*/ 28 w 40"/>
                <a:gd name="T3" fmla="*/ 1 h 40"/>
                <a:gd name="T4" fmla="*/ 20 w 40"/>
                <a:gd name="T5" fmla="*/ 0 h 40"/>
                <a:gd name="T6" fmla="*/ 12 w 40"/>
                <a:gd name="T7" fmla="*/ 1 h 40"/>
                <a:gd name="T8" fmla="*/ 0 w 40"/>
                <a:gd name="T9" fmla="*/ 20 h 40"/>
                <a:gd name="T10" fmla="*/ 1 w 40"/>
                <a:gd name="T11" fmla="*/ 26 h 40"/>
                <a:gd name="T12" fmla="*/ 12 w 40"/>
                <a:gd name="T13" fmla="*/ 38 h 40"/>
                <a:gd name="T14" fmla="*/ 20 w 40"/>
                <a:gd name="T15" fmla="*/ 40 h 40"/>
                <a:gd name="T16" fmla="*/ 35 w 40"/>
                <a:gd name="T17" fmla="*/ 33 h 40"/>
                <a:gd name="T18" fmla="*/ 34 w 40"/>
                <a:gd name="T19" fmla="*/ 31 h 40"/>
                <a:gd name="T20" fmla="*/ 36 w 40"/>
                <a:gd name="T21" fmla="*/ 32 h 40"/>
                <a:gd name="T22" fmla="*/ 40 w 40"/>
                <a:gd name="T2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40">
                  <a:moveTo>
                    <a:pt x="40" y="20"/>
                  </a:moveTo>
                  <a:cubicBezTo>
                    <a:pt x="40" y="12"/>
                    <a:pt x="35" y="4"/>
                    <a:pt x="28" y="1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7" y="0"/>
                    <a:pt x="14" y="0"/>
                    <a:pt x="12" y="1"/>
                  </a:cubicBezTo>
                  <a:cubicBezTo>
                    <a:pt x="5" y="4"/>
                    <a:pt x="0" y="12"/>
                    <a:pt x="0" y="20"/>
                  </a:cubicBezTo>
                  <a:cubicBezTo>
                    <a:pt x="0" y="22"/>
                    <a:pt x="0" y="24"/>
                    <a:pt x="1" y="26"/>
                  </a:cubicBezTo>
                  <a:cubicBezTo>
                    <a:pt x="3" y="32"/>
                    <a:pt x="7" y="36"/>
                    <a:pt x="12" y="38"/>
                  </a:cubicBezTo>
                  <a:cubicBezTo>
                    <a:pt x="14" y="39"/>
                    <a:pt x="17" y="40"/>
                    <a:pt x="20" y="40"/>
                  </a:cubicBezTo>
                  <a:cubicBezTo>
                    <a:pt x="26" y="40"/>
                    <a:pt x="31" y="37"/>
                    <a:pt x="35" y="33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8" y="29"/>
                    <a:pt x="40" y="24"/>
                    <a:pt x="40" y="20"/>
                  </a:cubicBez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ŝḷîḍê"/>
            <p:cNvSpPr/>
            <p:nvPr/>
          </p:nvSpPr>
          <p:spPr bwMode="auto">
            <a:xfrm>
              <a:off x="6083156" y="2163000"/>
              <a:ext cx="95409" cy="1326549"/>
            </a:xfrm>
            <a:custGeom>
              <a:avLst/>
              <a:gdLst>
                <a:gd name="T0" fmla="*/ 10 w 52"/>
                <a:gd name="T1" fmla="*/ 723 h 723"/>
                <a:gd name="T2" fmla="*/ 0 w 52"/>
                <a:gd name="T3" fmla="*/ 73 h 723"/>
                <a:gd name="T4" fmla="*/ 27 w 52"/>
                <a:gd name="T5" fmla="*/ 0 h 723"/>
                <a:gd name="T6" fmla="*/ 52 w 52"/>
                <a:gd name="T7" fmla="*/ 71 h 723"/>
                <a:gd name="T8" fmla="*/ 43 w 52"/>
                <a:gd name="T9" fmla="*/ 723 h 723"/>
                <a:gd name="T10" fmla="*/ 10 w 52"/>
                <a:gd name="T11" fmla="*/ 723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23">
                  <a:moveTo>
                    <a:pt x="10" y="723"/>
                  </a:moveTo>
                  <a:lnTo>
                    <a:pt x="0" y="73"/>
                  </a:lnTo>
                  <a:lnTo>
                    <a:pt x="27" y="0"/>
                  </a:lnTo>
                  <a:lnTo>
                    <a:pt x="52" y="71"/>
                  </a:lnTo>
                  <a:lnTo>
                    <a:pt x="43" y="723"/>
                  </a:lnTo>
                  <a:lnTo>
                    <a:pt x="10" y="723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ṧľíḍe"/>
            <p:cNvSpPr/>
            <p:nvPr/>
          </p:nvSpPr>
          <p:spPr bwMode="auto">
            <a:xfrm>
              <a:off x="5396947" y="3584958"/>
              <a:ext cx="704557" cy="708226"/>
            </a:xfrm>
            <a:custGeom>
              <a:avLst/>
              <a:gdLst>
                <a:gd name="T0" fmla="*/ 185 w 185"/>
                <a:gd name="T1" fmla="*/ 12 h 186"/>
                <a:gd name="T2" fmla="*/ 27 w 185"/>
                <a:gd name="T3" fmla="*/ 176 h 186"/>
                <a:gd name="T4" fmla="*/ 0 w 185"/>
                <a:gd name="T5" fmla="*/ 186 h 186"/>
                <a:gd name="T6" fmla="*/ 9 w 185"/>
                <a:gd name="T7" fmla="*/ 159 h 186"/>
                <a:gd name="T8" fmla="*/ 174 w 185"/>
                <a:gd name="T9" fmla="*/ 0 h 186"/>
                <a:gd name="T10" fmla="*/ 185 w 185"/>
                <a:gd name="T11" fmla="*/ 1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" h="186">
                  <a:moveTo>
                    <a:pt x="185" y="12"/>
                  </a:moveTo>
                  <a:cubicBezTo>
                    <a:pt x="27" y="176"/>
                    <a:pt x="27" y="176"/>
                    <a:pt x="27" y="176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6" y="6"/>
                    <a:pt x="180" y="10"/>
                    <a:pt x="185" y="12"/>
                  </a:cubicBez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şļíḋé"/>
            <p:cNvSpPr/>
            <p:nvPr/>
          </p:nvSpPr>
          <p:spPr bwMode="auto">
            <a:xfrm>
              <a:off x="6154714" y="2201531"/>
              <a:ext cx="56879" cy="1319210"/>
            </a:xfrm>
            <a:custGeom>
              <a:avLst/>
              <a:gdLst>
                <a:gd name="T0" fmla="*/ 3 w 15"/>
                <a:gd name="T1" fmla="*/ 0 h 346"/>
                <a:gd name="T2" fmla="*/ 0 w 15"/>
                <a:gd name="T3" fmla="*/ 7 h 346"/>
                <a:gd name="T4" fmla="*/ 6 w 15"/>
                <a:gd name="T5" fmla="*/ 24 h 346"/>
                <a:gd name="T6" fmla="*/ 2 w 15"/>
                <a:gd name="T7" fmla="*/ 338 h 346"/>
                <a:gd name="T8" fmla="*/ 10 w 15"/>
                <a:gd name="T9" fmla="*/ 346 h 346"/>
                <a:gd name="T10" fmla="*/ 15 w 15"/>
                <a:gd name="T11" fmla="*/ 35 h 346"/>
                <a:gd name="T12" fmla="*/ 3 w 15"/>
                <a:gd name="T13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46">
                  <a:moveTo>
                    <a:pt x="3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2" y="338"/>
                    <a:pt x="2" y="338"/>
                    <a:pt x="2" y="338"/>
                  </a:cubicBezTo>
                  <a:cubicBezTo>
                    <a:pt x="5" y="340"/>
                    <a:pt x="8" y="343"/>
                    <a:pt x="10" y="346"/>
                  </a:cubicBezTo>
                  <a:cubicBezTo>
                    <a:pt x="15" y="35"/>
                    <a:pt x="15" y="35"/>
                    <a:pt x="15" y="35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4444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ṧlíḓê"/>
            <p:cNvSpPr/>
            <p:nvPr/>
          </p:nvSpPr>
          <p:spPr bwMode="auto">
            <a:xfrm>
              <a:off x="6193243" y="3535418"/>
              <a:ext cx="49540" cy="91739"/>
            </a:xfrm>
            <a:custGeom>
              <a:avLst/>
              <a:gdLst>
                <a:gd name="T0" fmla="*/ 3 w 13"/>
                <a:gd name="T1" fmla="*/ 0 h 24"/>
                <a:gd name="T2" fmla="*/ 4 w 13"/>
                <a:gd name="T3" fmla="*/ 7 h 24"/>
                <a:gd name="T4" fmla="*/ 0 w 13"/>
                <a:gd name="T5" fmla="*/ 19 h 24"/>
                <a:gd name="T6" fmla="*/ 11 w 13"/>
                <a:gd name="T7" fmla="*/ 24 h 24"/>
                <a:gd name="T8" fmla="*/ 13 w 13"/>
                <a:gd name="T9" fmla="*/ 17 h 24"/>
                <a:gd name="T10" fmla="*/ 3 w 13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3" y="0"/>
                  </a:moveTo>
                  <a:cubicBezTo>
                    <a:pt x="3" y="2"/>
                    <a:pt x="4" y="4"/>
                    <a:pt x="4" y="7"/>
                  </a:cubicBezTo>
                  <a:cubicBezTo>
                    <a:pt x="4" y="11"/>
                    <a:pt x="2" y="16"/>
                    <a:pt x="0" y="19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2" y="22"/>
                    <a:pt x="13" y="20"/>
                    <a:pt x="13" y="17"/>
                  </a:cubicBezTo>
                  <a:cubicBezTo>
                    <a:pt x="13" y="10"/>
                    <a:pt x="8" y="3"/>
                    <a:pt x="3" y="0"/>
                  </a:cubicBezTo>
                  <a:close/>
                </a:path>
              </a:pathLst>
            </a:custGeom>
            <a:solidFill>
              <a:srgbClr val="4444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í$ļîḓè"/>
            <p:cNvSpPr/>
            <p:nvPr/>
          </p:nvSpPr>
          <p:spPr bwMode="auto">
            <a:xfrm>
              <a:off x="5429974" y="3612479"/>
              <a:ext cx="774279" cy="719235"/>
            </a:xfrm>
            <a:custGeom>
              <a:avLst/>
              <a:gdLst>
                <a:gd name="T0" fmla="*/ 203 w 203"/>
                <a:gd name="T1" fmla="*/ 14 h 189"/>
                <a:gd name="T2" fmla="*/ 199 w 203"/>
                <a:gd name="T3" fmla="*/ 0 h 189"/>
                <a:gd name="T4" fmla="*/ 184 w 203"/>
                <a:gd name="T5" fmla="*/ 7 h 189"/>
                <a:gd name="T6" fmla="*/ 176 w 203"/>
                <a:gd name="T7" fmla="*/ 5 h 189"/>
                <a:gd name="T8" fmla="*/ 18 w 203"/>
                <a:gd name="T9" fmla="*/ 169 h 189"/>
                <a:gd name="T10" fmla="*/ 5 w 203"/>
                <a:gd name="T11" fmla="*/ 174 h 189"/>
                <a:gd name="T12" fmla="*/ 0 w 203"/>
                <a:gd name="T13" fmla="*/ 189 h 189"/>
                <a:gd name="T14" fmla="*/ 27 w 203"/>
                <a:gd name="T15" fmla="*/ 179 h 189"/>
                <a:gd name="T16" fmla="*/ 185 w 203"/>
                <a:gd name="T17" fmla="*/ 15 h 189"/>
                <a:gd name="T18" fmla="*/ 193 w 203"/>
                <a:gd name="T19" fmla="*/ 17 h 189"/>
                <a:gd name="T20" fmla="*/ 203 w 203"/>
                <a:gd name="T21" fmla="*/ 1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" h="189">
                  <a:moveTo>
                    <a:pt x="203" y="14"/>
                  </a:moveTo>
                  <a:cubicBezTo>
                    <a:pt x="199" y="0"/>
                    <a:pt x="199" y="0"/>
                    <a:pt x="199" y="0"/>
                  </a:cubicBezTo>
                  <a:cubicBezTo>
                    <a:pt x="195" y="4"/>
                    <a:pt x="190" y="7"/>
                    <a:pt x="184" y="7"/>
                  </a:cubicBezTo>
                  <a:cubicBezTo>
                    <a:pt x="181" y="7"/>
                    <a:pt x="178" y="6"/>
                    <a:pt x="176" y="5"/>
                  </a:cubicBezTo>
                  <a:cubicBezTo>
                    <a:pt x="18" y="169"/>
                    <a:pt x="18" y="169"/>
                    <a:pt x="18" y="169"/>
                  </a:cubicBezTo>
                  <a:cubicBezTo>
                    <a:pt x="5" y="174"/>
                    <a:pt x="5" y="174"/>
                    <a:pt x="5" y="174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185" y="15"/>
                    <a:pt x="185" y="15"/>
                    <a:pt x="185" y="15"/>
                  </a:cubicBezTo>
                  <a:cubicBezTo>
                    <a:pt x="187" y="16"/>
                    <a:pt x="190" y="17"/>
                    <a:pt x="193" y="17"/>
                  </a:cubicBezTo>
                  <a:cubicBezTo>
                    <a:pt x="196" y="17"/>
                    <a:pt x="200" y="16"/>
                    <a:pt x="203" y="14"/>
                  </a:cubicBezTo>
                  <a:close/>
                </a:path>
              </a:pathLst>
            </a:custGeom>
            <a:solidFill>
              <a:srgbClr val="4444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šḷïďe"/>
            <p:cNvSpPr/>
            <p:nvPr/>
          </p:nvSpPr>
          <p:spPr bwMode="auto">
            <a:xfrm>
              <a:off x="5193287" y="1999705"/>
              <a:ext cx="198157" cy="258705"/>
            </a:xfrm>
            <a:custGeom>
              <a:avLst/>
              <a:gdLst>
                <a:gd name="T0" fmla="*/ 40 w 108"/>
                <a:gd name="T1" fmla="*/ 0 h 141"/>
                <a:gd name="T2" fmla="*/ 108 w 108"/>
                <a:gd name="T3" fmla="*/ 119 h 141"/>
                <a:gd name="T4" fmla="*/ 71 w 108"/>
                <a:gd name="T5" fmla="*/ 141 h 141"/>
                <a:gd name="T6" fmla="*/ 0 w 108"/>
                <a:gd name="T7" fmla="*/ 21 h 141"/>
                <a:gd name="T8" fmla="*/ 40 w 10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41">
                  <a:moveTo>
                    <a:pt x="40" y="0"/>
                  </a:moveTo>
                  <a:lnTo>
                    <a:pt x="108" y="119"/>
                  </a:lnTo>
                  <a:lnTo>
                    <a:pt x="71" y="141"/>
                  </a:lnTo>
                  <a:lnTo>
                    <a:pt x="0" y="2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ṥḷîdè"/>
            <p:cNvSpPr/>
            <p:nvPr/>
          </p:nvSpPr>
          <p:spPr bwMode="auto">
            <a:xfrm>
              <a:off x="4556617" y="2640044"/>
              <a:ext cx="264209" cy="198157"/>
            </a:xfrm>
            <a:custGeom>
              <a:avLst/>
              <a:gdLst>
                <a:gd name="T0" fmla="*/ 23 w 144"/>
                <a:gd name="T1" fmla="*/ 0 h 108"/>
                <a:gd name="T2" fmla="*/ 144 w 144"/>
                <a:gd name="T3" fmla="*/ 71 h 108"/>
                <a:gd name="T4" fmla="*/ 121 w 144"/>
                <a:gd name="T5" fmla="*/ 108 h 108"/>
                <a:gd name="T6" fmla="*/ 0 w 144"/>
                <a:gd name="T7" fmla="*/ 40 h 108"/>
                <a:gd name="T8" fmla="*/ 23 w 144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08">
                  <a:moveTo>
                    <a:pt x="23" y="0"/>
                  </a:moveTo>
                  <a:lnTo>
                    <a:pt x="144" y="71"/>
                  </a:lnTo>
                  <a:lnTo>
                    <a:pt x="121" y="108"/>
                  </a:lnTo>
                  <a:lnTo>
                    <a:pt x="0" y="4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ṡľíḍè"/>
            <p:cNvSpPr/>
            <p:nvPr/>
          </p:nvSpPr>
          <p:spPr bwMode="auto">
            <a:xfrm>
              <a:off x="4343782" y="3531748"/>
              <a:ext cx="255035" cy="80730"/>
            </a:xfrm>
            <a:prstGeom prst="rect">
              <a:avLst/>
            </a:pr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Sḷîḓé"/>
            <p:cNvSpPr/>
            <p:nvPr/>
          </p:nvSpPr>
          <p:spPr bwMode="auto">
            <a:xfrm>
              <a:off x="4567625" y="4302357"/>
              <a:ext cx="260539" cy="198157"/>
            </a:xfrm>
            <a:custGeom>
              <a:avLst/>
              <a:gdLst>
                <a:gd name="T0" fmla="*/ 0 w 142"/>
                <a:gd name="T1" fmla="*/ 68 h 108"/>
                <a:gd name="T2" fmla="*/ 121 w 142"/>
                <a:gd name="T3" fmla="*/ 0 h 108"/>
                <a:gd name="T4" fmla="*/ 142 w 142"/>
                <a:gd name="T5" fmla="*/ 37 h 108"/>
                <a:gd name="T6" fmla="*/ 21 w 142"/>
                <a:gd name="T7" fmla="*/ 108 h 108"/>
                <a:gd name="T8" fmla="*/ 0 w 142"/>
                <a:gd name="T9" fmla="*/ 6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08">
                  <a:moveTo>
                    <a:pt x="0" y="68"/>
                  </a:moveTo>
                  <a:lnTo>
                    <a:pt x="121" y="0"/>
                  </a:lnTo>
                  <a:lnTo>
                    <a:pt x="142" y="37"/>
                  </a:lnTo>
                  <a:lnTo>
                    <a:pt x="21" y="10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śḻïde"/>
            <p:cNvSpPr/>
            <p:nvPr/>
          </p:nvSpPr>
          <p:spPr bwMode="auto">
            <a:xfrm>
              <a:off x="5213469" y="4872976"/>
              <a:ext cx="194487" cy="258705"/>
            </a:xfrm>
            <a:custGeom>
              <a:avLst/>
              <a:gdLst>
                <a:gd name="T0" fmla="*/ 0 w 106"/>
                <a:gd name="T1" fmla="*/ 121 h 141"/>
                <a:gd name="T2" fmla="*/ 68 w 106"/>
                <a:gd name="T3" fmla="*/ 0 h 141"/>
                <a:gd name="T4" fmla="*/ 106 w 106"/>
                <a:gd name="T5" fmla="*/ 23 h 141"/>
                <a:gd name="T6" fmla="*/ 37 w 106"/>
                <a:gd name="T7" fmla="*/ 141 h 141"/>
                <a:gd name="T8" fmla="*/ 0 w 106"/>
                <a:gd name="T9" fmla="*/ 12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41">
                  <a:moveTo>
                    <a:pt x="0" y="121"/>
                  </a:moveTo>
                  <a:lnTo>
                    <a:pt x="68" y="0"/>
                  </a:lnTo>
                  <a:lnTo>
                    <a:pt x="106" y="23"/>
                  </a:lnTo>
                  <a:lnTo>
                    <a:pt x="37" y="141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ṥ1ïḓé"/>
            <p:cNvSpPr/>
            <p:nvPr/>
          </p:nvSpPr>
          <p:spPr bwMode="auto">
            <a:xfrm>
              <a:off x="6101504" y="5094984"/>
              <a:ext cx="80730" cy="255035"/>
            </a:xfrm>
            <a:prstGeom prst="rect">
              <a:avLst/>
            </a:pr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íŝ1îḓé"/>
            <p:cNvSpPr/>
            <p:nvPr/>
          </p:nvSpPr>
          <p:spPr bwMode="auto">
            <a:xfrm>
              <a:off x="7664740" y="3513401"/>
              <a:ext cx="255035" cy="78896"/>
            </a:xfrm>
            <a:prstGeom prst="rect">
              <a:avLst/>
            </a:pr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şḷïḍè"/>
            <p:cNvSpPr/>
            <p:nvPr/>
          </p:nvSpPr>
          <p:spPr bwMode="auto">
            <a:xfrm>
              <a:off x="7435392" y="2625365"/>
              <a:ext cx="260539" cy="198157"/>
            </a:xfrm>
            <a:custGeom>
              <a:avLst/>
              <a:gdLst>
                <a:gd name="T0" fmla="*/ 142 w 142"/>
                <a:gd name="T1" fmla="*/ 37 h 108"/>
                <a:gd name="T2" fmla="*/ 21 w 142"/>
                <a:gd name="T3" fmla="*/ 108 h 108"/>
                <a:gd name="T4" fmla="*/ 0 w 142"/>
                <a:gd name="T5" fmla="*/ 68 h 108"/>
                <a:gd name="T6" fmla="*/ 121 w 142"/>
                <a:gd name="T7" fmla="*/ 0 h 108"/>
                <a:gd name="T8" fmla="*/ 142 w 142"/>
                <a:gd name="T9" fmla="*/ 3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08">
                  <a:moveTo>
                    <a:pt x="142" y="37"/>
                  </a:moveTo>
                  <a:lnTo>
                    <a:pt x="21" y="108"/>
                  </a:lnTo>
                  <a:lnTo>
                    <a:pt x="0" y="68"/>
                  </a:lnTo>
                  <a:lnTo>
                    <a:pt x="121" y="0"/>
                  </a:lnTo>
                  <a:lnTo>
                    <a:pt x="142" y="37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Sḷíḋé"/>
            <p:cNvSpPr/>
            <p:nvPr/>
          </p:nvSpPr>
          <p:spPr bwMode="auto">
            <a:xfrm>
              <a:off x="6857435" y="1988696"/>
              <a:ext cx="194487" cy="258705"/>
            </a:xfrm>
            <a:custGeom>
              <a:avLst/>
              <a:gdLst>
                <a:gd name="T0" fmla="*/ 106 w 106"/>
                <a:gd name="T1" fmla="*/ 23 h 141"/>
                <a:gd name="T2" fmla="*/ 37 w 106"/>
                <a:gd name="T3" fmla="*/ 141 h 141"/>
                <a:gd name="T4" fmla="*/ 0 w 106"/>
                <a:gd name="T5" fmla="*/ 120 h 141"/>
                <a:gd name="T6" fmla="*/ 68 w 106"/>
                <a:gd name="T7" fmla="*/ 0 h 141"/>
                <a:gd name="T8" fmla="*/ 106 w 106"/>
                <a:gd name="T9" fmla="*/ 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41">
                  <a:moveTo>
                    <a:pt x="106" y="23"/>
                  </a:moveTo>
                  <a:lnTo>
                    <a:pt x="37" y="141"/>
                  </a:lnTo>
                  <a:lnTo>
                    <a:pt x="0" y="120"/>
                  </a:lnTo>
                  <a:lnTo>
                    <a:pt x="68" y="0"/>
                  </a:lnTo>
                  <a:lnTo>
                    <a:pt x="106" y="23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Slidé"/>
            <p:cNvSpPr/>
            <p:nvPr/>
          </p:nvSpPr>
          <p:spPr bwMode="auto">
            <a:xfrm>
              <a:off x="4252043" y="1680452"/>
              <a:ext cx="3759472" cy="3761306"/>
            </a:xfrm>
            <a:custGeom>
              <a:avLst/>
              <a:gdLst>
                <a:gd name="T0" fmla="*/ 493 w 986"/>
                <a:gd name="T1" fmla="*/ 987 h 987"/>
                <a:gd name="T2" fmla="*/ 0 w 986"/>
                <a:gd name="T3" fmla="*/ 494 h 987"/>
                <a:gd name="T4" fmla="*/ 493 w 986"/>
                <a:gd name="T5" fmla="*/ 0 h 987"/>
                <a:gd name="T6" fmla="*/ 986 w 986"/>
                <a:gd name="T7" fmla="*/ 494 h 987"/>
                <a:gd name="T8" fmla="*/ 935 w 986"/>
                <a:gd name="T9" fmla="*/ 712 h 987"/>
                <a:gd name="T10" fmla="*/ 928 w 986"/>
                <a:gd name="T11" fmla="*/ 709 h 987"/>
                <a:gd name="T12" fmla="*/ 978 w 986"/>
                <a:gd name="T13" fmla="*/ 494 h 987"/>
                <a:gd name="T14" fmla="*/ 493 w 986"/>
                <a:gd name="T15" fmla="*/ 8 h 987"/>
                <a:gd name="T16" fmla="*/ 8 w 986"/>
                <a:gd name="T17" fmla="*/ 494 h 987"/>
                <a:gd name="T18" fmla="*/ 493 w 986"/>
                <a:gd name="T19" fmla="*/ 979 h 987"/>
                <a:gd name="T20" fmla="*/ 634 w 986"/>
                <a:gd name="T21" fmla="*/ 958 h 987"/>
                <a:gd name="T22" fmla="*/ 636 w 986"/>
                <a:gd name="T23" fmla="*/ 966 h 987"/>
                <a:gd name="T24" fmla="*/ 493 w 986"/>
                <a:gd name="T25" fmla="*/ 987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86" h="987">
                  <a:moveTo>
                    <a:pt x="493" y="987"/>
                  </a:moveTo>
                  <a:cubicBezTo>
                    <a:pt x="221" y="987"/>
                    <a:pt x="0" y="766"/>
                    <a:pt x="0" y="494"/>
                  </a:cubicBezTo>
                  <a:cubicBezTo>
                    <a:pt x="0" y="222"/>
                    <a:pt x="221" y="0"/>
                    <a:pt x="493" y="0"/>
                  </a:cubicBezTo>
                  <a:cubicBezTo>
                    <a:pt x="765" y="0"/>
                    <a:pt x="986" y="222"/>
                    <a:pt x="986" y="494"/>
                  </a:cubicBezTo>
                  <a:cubicBezTo>
                    <a:pt x="986" y="570"/>
                    <a:pt x="969" y="644"/>
                    <a:pt x="935" y="712"/>
                  </a:cubicBezTo>
                  <a:cubicBezTo>
                    <a:pt x="928" y="709"/>
                    <a:pt x="928" y="709"/>
                    <a:pt x="928" y="709"/>
                  </a:cubicBezTo>
                  <a:cubicBezTo>
                    <a:pt x="961" y="642"/>
                    <a:pt x="978" y="569"/>
                    <a:pt x="978" y="494"/>
                  </a:cubicBezTo>
                  <a:cubicBezTo>
                    <a:pt x="978" y="226"/>
                    <a:pt x="760" y="8"/>
                    <a:pt x="493" y="8"/>
                  </a:cubicBezTo>
                  <a:cubicBezTo>
                    <a:pt x="225" y="8"/>
                    <a:pt x="8" y="226"/>
                    <a:pt x="8" y="494"/>
                  </a:cubicBezTo>
                  <a:cubicBezTo>
                    <a:pt x="8" y="761"/>
                    <a:pt x="225" y="979"/>
                    <a:pt x="493" y="979"/>
                  </a:cubicBezTo>
                  <a:cubicBezTo>
                    <a:pt x="541" y="979"/>
                    <a:pt x="588" y="972"/>
                    <a:pt x="634" y="958"/>
                  </a:cubicBezTo>
                  <a:cubicBezTo>
                    <a:pt x="636" y="966"/>
                    <a:pt x="636" y="966"/>
                    <a:pt x="636" y="966"/>
                  </a:cubicBezTo>
                  <a:cubicBezTo>
                    <a:pt x="590" y="980"/>
                    <a:pt x="542" y="987"/>
                    <a:pt x="493" y="987"/>
                  </a:cubicBezTo>
                  <a:close/>
                </a:path>
              </a:pathLst>
            </a:custGeom>
            <a:solidFill>
              <a:srgbClr val="4444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ṧľîḍè"/>
            <p:cNvSpPr/>
            <p:nvPr/>
          </p:nvSpPr>
          <p:spPr bwMode="auto">
            <a:xfrm>
              <a:off x="6132696" y="4091358"/>
              <a:ext cx="414661" cy="809140"/>
            </a:xfrm>
            <a:custGeom>
              <a:avLst/>
              <a:gdLst>
                <a:gd name="T0" fmla="*/ 226 w 226"/>
                <a:gd name="T1" fmla="*/ 441 h 441"/>
                <a:gd name="T2" fmla="*/ 0 w 226"/>
                <a:gd name="T3" fmla="*/ 0 h 441"/>
                <a:gd name="T4" fmla="*/ 112 w 226"/>
                <a:gd name="T5" fmla="*/ 29 h 441"/>
                <a:gd name="T6" fmla="*/ 226 w 226"/>
                <a:gd name="T7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" h="441">
                  <a:moveTo>
                    <a:pt x="226" y="441"/>
                  </a:moveTo>
                  <a:lnTo>
                    <a:pt x="0" y="0"/>
                  </a:lnTo>
                  <a:lnTo>
                    <a:pt x="112" y="29"/>
                  </a:lnTo>
                  <a:lnTo>
                    <a:pt x="226" y="441"/>
                  </a:lnTo>
                  <a:close/>
                </a:path>
              </a:pathLst>
            </a:custGeom>
            <a:solidFill>
              <a:srgbClr val="4444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Sļïdê"/>
            <p:cNvSpPr/>
            <p:nvPr/>
          </p:nvSpPr>
          <p:spPr bwMode="auto">
            <a:xfrm>
              <a:off x="5885000" y="1082313"/>
              <a:ext cx="14678" cy="223844"/>
            </a:xfrm>
            <a:custGeom>
              <a:avLst/>
              <a:gdLst>
                <a:gd name="T0" fmla="*/ 2 w 4"/>
                <a:gd name="T1" fmla="*/ 59 h 59"/>
                <a:gd name="T2" fmla="*/ 0 w 4"/>
                <a:gd name="T3" fmla="*/ 57 h 59"/>
                <a:gd name="T4" fmla="*/ 0 w 4"/>
                <a:gd name="T5" fmla="*/ 2 h 59"/>
                <a:gd name="T6" fmla="*/ 2 w 4"/>
                <a:gd name="T7" fmla="*/ 0 h 59"/>
                <a:gd name="T8" fmla="*/ 4 w 4"/>
                <a:gd name="T9" fmla="*/ 2 h 59"/>
                <a:gd name="T10" fmla="*/ 4 w 4"/>
                <a:gd name="T11" fmla="*/ 57 h 59"/>
                <a:gd name="T12" fmla="*/ 2 w 4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59">
                  <a:moveTo>
                    <a:pt x="2" y="59"/>
                  </a:moveTo>
                  <a:cubicBezTo>
                    <a:pt x="0" y="59"/>
                    <a:pt x="0" y="58"/>
                    <a:pt x="0" y="5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8"/>
                    <a:pt x="3" y="59"/>
                    <a:pt x="2" y="59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ŝľiḑé"/>
            <p:cNvSpPr/>
            <p:nvPr/>
          </p:nvSpPr>
          <p:spPr bwMode="auto">
            <a:xfrm>
              <a:off x="6002426" y="1082313"/>
              <a:ext cx="14678" cy="223844"/>
            </a:xfrm>
            <a:custGeom>
              <a:avLst/>
              <a:gdLst>
                <a:gd name="T0" fmla="*/ 2 w 4"/>
                <a:gd name="T1" fmla="*/ 59 h 59"/>
                <a:gd name="T2" fmla="*/ 0 w 4"/>
                <a:gd name="T3" fmla="*/ 57 h 59"/>
                <a:gd name="T4" fmla="*/ 0 w 4"/>
                <a:gd name="T5" fmla="*/ 2 h 59"/>
                <a:gd name="T6" fmla="*/ 2 w 4"/>
                <a:gd name="T7" fmla="*/ 0 h 59"/>
                <a:gd name="T8" fmla="*/ 4 w 4"/>
                <a:gd name="T9" fmla="*/ 2 h 59"/>
                <a:gd name="T10" fmla="*/ 4 w 4"/>
                <a:gd name="T11" fmla="*/ 57 h 59"/>
                <a:gd name="T12" fmla="*/ 2 w 4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59">
                  <a:moveTo>
                    <a:pt x="2" y="59"/>
                  </a:moveTo>
                  <a:cubicBezTo>
                    <a:pt x="1" y="59"/>
                    <a:pt x="0" y="58"/>
                    <a:pt x="0" y="5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8"/>
                    <a:pt x="3" y="59"/>
                    <a:pt x="2" y="59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ṧḻîḑe"/>
            <p:cNvSpPr/>
            <p:nvPr/>
          </p:nvSpPr>
          <p:spPr bwMode="auto">
            <a:xfrm>
              <a:off x="6123522" y="1082313"/>
              <a:ext cx="16514" cy="223844"/>
            </a:xfrm>
            <a:custGeom>
              <a:avLst/>
              <a:gdLst>
                <a:gd name="T0" fmla="*/ 2 w 4"/>
                <a:gd name="T1" fmla="*/ 59 h 59"/>
                <a:gd name="T2" fmla="*/ 0 w 4"/>
                <a:gd name="T3" fmla="*/ 57 h 59"/>
                <a:gd name="T4" fmla="*/ 0 w 4"/>
                <a:gd name="T5" fmla="*/ 2 h 59"/>
                <a:gd name="T6" fmla="*/ 2 w 4"/>
                <a:gd name="T7" fmla="*/ 0 h 59"/>
                <a:gd name="T8" fmla="*/ 4 w 4"/>
                <a:gd name="T9" fmla="*/ 2 h 59"/>
                <a:gd name="T10" fmla="*/ 4 w 4"/>
                <a:gd name="T11" fmla="*/ 57 h 59"/>
                <a:gd name="T12" fmla="*/ 2 w 4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59">
                  <a:moveTo>
                    <a:pt x="2" y="59"/>
                  </a:moveTo>
                  <a:cubicBezTo>
                    <a:pt x="1" y="59"/>
                    <a:pt x="0" y="58"/>
                    <a:pt x="0" y="5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8"/>
                    <a:pt x="3" y="59"/>
                    <a:pt x="2" y="59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šlíḍé"/>
            <p:cNvSpPr/>
            <p:nvPr/>
          </p:nvSpPr>
          <p:spPr bwMode="auto">
            <a:xfrm>
              <a:off x="6242783" y="1082313"/>
              <a:ext cx="14678" cy="223844"/>
            </a:xfrm>
            <a:custGeom>
              <a:avLst/>
              <a:gdLst>
                <a:gd name="T0" fmla="*/ 2 w 4"/>
                <a:gd name="T1" fmla="*/ 59 h 59"/>
                <a:gd name="T2" fmla="*/ 0 w 4"/>
                <a:gd name="T3" fmla="*/ 57 h 59"/>
                <a:gd name="T4" fmla="*/ 0 w 4"/>
                <a:gd name="T5" fmla="*/ 2 h 59"/>
                <a:gd name="T6" fmla="*/ 2 w 4"/>
                <a:gd name="T7" fmla="*/ 0 h 59"/>
                <a:gd name="T8" fmla="*/ 4 w 4"/>
                <a:gd name="T9" fmla="*/ 2 h 59"/>
                <a:gd name="T10" fmla="*/ 4 w 4"/>
                <a:gd name="T11" fmla="*/ 57 h 59"/>
                <a:gd name="T12" fmla="*/ 2 w 4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59">
                  <a:moveTo>
                    <a:pt x="2" y="59"/>
                  </a:moveTo>
                  <a:cubicBezTo>
                    <a:pt x="1" y="59"/>
                    <a:pt x="0" y="58"/>
                    <a:pt x="0" y="5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4" y="1"/>
                    <a:pt x="4" y="2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8"/>
                    <a:pt x="4" y="59"/>
                    <a:pt x="2" y="59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$ļíḑê"/>
            <p:cNvSpPr/>
            <p:nvPr/>
          </p:nvSpPr>
          <p:spPr bwMode="auto">
            <a:xfrm>
              <a:off x="6363879" y="1082313"/>
              <a:ext cx="16514" cy="223844"/>
            </a:xfrm>
            <a:custGeom>
              <a:avLst/>
              <a:gdLst>
                <a:gd name="T0" fmla="*/ 2 w 4"/>
                <a:gd name="T1" fmla="*/ 59 h 59"/>
                <a:gd name="T2" fmla="*/ 0 w 4"/>
                <a:gd name="T3" fmla="*/ 57 h 59"/>
                <a:gd name="T4" fmla="*/ 0 w 4"/>
                <a:gd name="T5" fmla="*/ 2 h 59"/>
                <a:gd name="T6" fmla="*/ 2 w 4"/>
                <a:gd name="T7" fmla="*/ 0 h 59"/>
                <a:gd name="T8" fmla="*/ 4 w 4"/>
                <a:gd name="T9" fmla="*/ 2 h 59"/>
                <a:gd name="T10" fmla="*/ 4 w 4"/>
                <a:gd name="T11" fmla="*/ 57 h 59"/>
                <a:gd name="T12" fmla="*/ 2 w 4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59">
                  <a:moveTo>
                    <a:pt x="2" y="59"/>
                  </a:moveTo>
                  <a:cubicBezTo>
                    <a:pt x="1" y="59"/>
                    <a:pt x="0" y="58"/>
                    <a:pt x="0" y="5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8"/>
                    <a:pt x="3" y="59"/>
                    <a:pt x="2" y="59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śļíḑè"/>
            <p:cNvSpPr/>
            <p:nvPr/>
          </p:nvSpPr>
          <p:spPr bwMode="auto">
            <a:xfrm>
              <a:off x="4705235" y="1775861"/>
              <a:ext cx="95409" cy="128435"/>
            </a:xfrm>
            <a:custGeom>
              <a:avLst/>
              <a:gdLst>
                <a:gd name="T0" fmla="*/ 22 w 25"/>
                <a:gd name="T1" fmla="*/ 34 h 34"/>
                <a:gd name="T2" fmla="*/ 21 w 25"/>
                <a:gd name="T3" fmla="*/ 34 h 34"/>
                <a:gd name="T4" fmla="*/ 0 w 25"/>
                <a:gd name="T5" fmla="*/ 3 h 34"/>
                <a:gd name="T6" fmla="*/ 1 w 25"/>
                <a:gd name="T7" fmla="*/ 0 h 34"/>
                <a:gd name="T8" fmla="*/ 3 w 25"/>
                <a:gd name="T9" fmla="*/ 1 h 34"/>
                <a:gd name="T10" fmla="*/ 24 w 25"/>
                <a:gd name="T11" fmla="*/ 31 h 34"/>
                <a:gd name="T12" fmla="*/ 24 w 25"/>
                <a:gd name="T13" fmla="*/ 34 h 34"/>
                <a:gd name="T14" fmla="*/ 22 w 25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4">
                  <a:moveTo>
                    <a:pt x="22" y="34"/>
                  </a:moveTo>
                  <a:cubicBezTo>
                    <a:pt x="22" y="34"/>
                    <a:pt x="21" y="34"/>
                    <a:pt x="21" y="3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4"/>
                    <a:pt x="24" y="34"/>
                  </a:cubicBezTo>
                  <a:cubicBezTo>
                    <a:pt x="23" y="34"/>
                    <a:pt x="23" y="34"/>
                    <a:pt x="22" y="34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ṩḻïdé"/>
            <p:cNvSpPr/>
            <p:nvPr/>
          </p:nvSpPr>
          <p:spPr bwMode="auto">
            <a:xfrm>
              <a:off x="4771287" y="1729991"/>
              <a:ext cx="95409" cy="132104"/>
            </a:xfrm>
            <a:custGeom>
              <a:avLst/>
              <a:gdLst>
                <a:gd name="T0" fmla="*/ 23 w 25"/>
                <a:gd name="T1" fmla="*/ 35 h 35"/>
                <a:gd name="T2" fmla="*/ 21 w 25"/>
                <a:gd name="T3" fmla="*/ 34 h 35"/>
                <a:gd name="T4" fmla="*/ 1 w 25"/>
                <a:gd name="T5" fmla="*/ 3 h 35"/>
                <a:gd name="T6" fmla="*/ 1 w 25"/>
                <a:gd name="T7" fmla="*/ 1 h 35"/>
                <a:gd name="T8" fmla="*/ 4 w 25"/>
                <a:gd name="T9" fmla="*/ 1 h 35"/>
                <a:gd name="T10" fmla="*/ 25 w 25"/>
                <a:gd name="T11" fmla="*/ 32 h 35"/>
                <a:gd name="T12" fmla="*/ 24 w 25"/>
                <a:gd name="T13" fmla="*/ 34 h 35"/>
                <a:gd name="T14" fmla="*/ 23 w 25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5">
                  <a:moveTo>
                    <a:pt x="23" y="35"/>
                  </a:moveTo>
                  <a:cubicBezTo>
                    <a:pt x="22" y="35"/>
                    <a:pt x="22" y="34"/>
                    <a:pt x="21" y="3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3"/>
                    <a:pt x="25" y="34"/>
                    <a:pt x="24" y="34"/>
                  </a:cubicBezTo>
                  <a:cubicBezTo>
                    <a:pt x="24" y="35"/>
                    <a:pt x="23" y="35"/>
                    <a:pt x="23" y="35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ṥľíḋè"/>
            <p:cNvSpPr/>
            <p:nvPr/>
          </p:nvSpPr>
          <p:spPr bwMode="auto">
            <a:xfrm>
              <a:off x="4835504" y="1684122"/>
              <a:ext cx="99078" cy="132104"/>
            </a:xfrm>
            <a:custGeom>
              <a:avLst/>
              <a:gdLst>
                <a:gd name="T0" fmla="*/ 23 w 26"/>
                <a:gd name="T1" fmla="*/ 35 h 35"/>
                <a:gd name="T2" fmla="*/ 22 w 26"/>
                <a:gd name="T3" fmla="*/ 34 h 35"/>
                <a:gd name="T4" fmla="*/ 1 w 26"/>
                <a:gd name="T5" fmla="*/ 4 h 35"/>
                <a:gd name="T6" fmla="*/ 2 w 26"/>
                <a:gd name="T7" fmla="*/ 1 h 35"/>
                <a:gd name="T8" fmla="*/ 4 w 26"/>
                <a:gd name="T9" fmla="*/ 1 h 35"/>
                <a:gd name="T10" fmla="*/ 25 w 26"/>
                <a:gd name="T11" fmla="*/ 32 h 35"/>
                <a:gd name="T12" fmla="*/ 24 w 26"/>
                <a:gd name="T13" fmla="*/ 35 h 35"/>
                <a:gd name="T14" fmla="*/ 23 w 26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5">
                  <a:moveTo>
                    <a:pt x="23" y="35"/>
                  </a:moveTo>
                  <a:cubicBezTo>
                    <a:pt x="23" y="35"/>
                    <a:pt x="22" y="35"/>
                    <a:pt x="22" y="3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5" y="34"/>
                    <a:pt x="24" y="35"/>
                  </a:cubicBezTo>
                  <a:cubicBezTo>
                    <a:pt x="24" y="35"/>
                    <a:pt x="24" y="35"/>
                    <a:pt x="23" y="35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ṩlídé"/>
            <p:cNvSpPr/>
            <p:nvPr/>
          </p:nvSpPr>
          <p:spPr bwMode="auto">
            <a:xfrm>
              <a:off x="4903391" y="1638252"/>
              <a:ext cx="95409" cy="133940"/>
            </a:xfrm>
            <a:custGeom>
              <a:avLst/>
              <a:gdLst>
                <a:gd name="T0" fmla="*/ 23 w 25"/>
                <a:gd name="T1" fmla="*/ 35 h 35"/>
                <a:gd name="T2" fmla="*/ 21 w 25"/>
                <a:gd name="T3" fmla="*/ 34 h 35"/>
                <a:gd name="T4" fmla="*/ 0 w 25"/>
                <a:gd name="T5" fmla="*/ 4 h 35"/>
                <a:gd name="T6" fmla="*/ 1 w 25"/>
                <a:gd name="T7" fmla="*/ 1 h 35"/>
                <a:gd name="T8" fmla="*/ 4 w 25"/>
                <a:gd name="T9" fmla="*/ 2 h 35"/>
                <a:gd name="T10" fmla="*/ 24 w 25"/>
                <a:gd name="T11" fmla="*/ 32 h 35"/>
                <a:gd name="T12" fmla="*/ 24 w 25"/>
                <a:gd name="T13" fmla="*/ 35 h 35"/>
                <a:gd name="T14" fmla="*/ 23 w 25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5">
                  <a:moveTo>
                    <a:pt x="23" y="35"/>
                  </a:moveTo>
                  <a:cubicBezTo>
                    <a:pt x="22" y="35"/>
                    <a:pt x="21" y="35"/>
                    <a:pt x="21" y="3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5" y="33"/>
                    <a:pt x="25" y="34"/>
                    <a:pt x="24" y="35"/>
                  </a:cubicBezTo>
                  <a:cubicBezTo>
                    <a:pt x="23" y="35"/>
                    <a:pt x="23" y="35"/>
                    <a:pt x="23" y="35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ḷïḑê"/>
            <p:cNvSpPr/>
            <p:nvPr/>
          </p:nvSpPr>
          <p:spPr bwMode="auto">
            <a:xfrm>
              <a:off x="4969443" y="1596052"/>
              <a:ext cx="95409" cy="133940"/>
            </a:xfrm>
            <a:custGeom>
              <a:avLst/>
              <a:gdLst>
                <a:gd name="T0" fmla="*/ 23 w 25"/>
                <a:gd name="T1" fmla="*/ 35 h 35"/>
                <a:gd name="T2" fmla="*/ 21 w 25"/>
                <a:gd name="T3" fmla="*/ 34 h 35"/>
                <a:gd name="T4" fmla="*/ 1 w 25"/>
                <a:gd name="T5" fmla="*/ 3 h 35"/>
                <a:gd name="T6" fmla="*/ 1 w 25"/>
                <a:gd name="T7" fmla="*/ 0 h 35"/>
                <a:gd name="T8" fmla="*/ 4 w 25"/>
                <a:gd name="T9" fmla="*/ 1 h 35"/>
                <a:gd name="T10" fmla="*/ 25 w 25"/>
                <a:gd name="T11" fmla="*/ 31 h 35"/>
                <a:gd name="T12" fmla="*/ 24 w 25"/>
                <a:gd name="T13" fmla="*/ 34 h 35"/>
                <a:gd name="T14" fmla="*/ 23 w 25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5">
                  <a:moveTo>
                    <a:pt x="23" y="35"/>
                  </a:moveTo>
                  <a:cubicBezTo>
                    <a:pt x="22" y="35"/>
                    <a:pt x="22" y="34"/>
                    <a:pt x="21" y="3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2"/>
                    <a:pt x="25" y="34"/>
                    <a:pt x="24" y="34"/>
                  </a:cubicBezTo>
                  <a:cubicBezTo>
                    <a:pt x="24" y="34"/>
                    <a:pt x="23" y="35"/>
                    <a:pt x="23" y="35"/>
                  </a:cubicBezTo>
                  <a:close/>
                </a:path>
              </a:pathLst>
            </a:custGeom>
            <a:solidFill>
              <a:srgbClr val="EF7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1íḓè"/>
            <p:cNvSpPr/>
            <p:nvPr/>
          </p:nvSpPr>
          <p:spPr bwMode="auto">
            <a:xfrm>
              <a:off x="2954851" y="5650924"/>
              <a:ext cx="6326333" cy="71557"/>
            </a:xfrm>
            <a:custGeom>
              <a:avLst/>
              <a:gdLst>
                <a:gd name="T0" fmla="*/ 3448 w 3448"/>
                <a:gd name="T1" fmla="*/ 0 h 39"/>
                <a:gd name="T2" fmla="*/ 3448 w 3448"/>
                <a:gd name="T3" fmla="*/ 39 h 39"/>
                <a:gd name="T4" fmla="*/ 25 w 3448"/>
                <a:gd name="T5" fmla="*/ 39 h 39"/>
                <a:gd name="T6" fmla="*/ 0 w 3448"/>
                <a:gd name="T7" fmla="*/ 0 h 39"/>
                <a:gd name="T8" fmla="*/ 3448 w 3448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8" h="39">
                  <a:moveTo>
                    <a:pt x="3448" y="0"/>
                  </a:moveTo>
                  <a:lnTo>
                    <a:pt x="3448" y="39"/>
                  </a:lnTo>
                  <a:lnTo>
                    <a:pt x="25" y="39"/>
                  </a:lnTo>
                  <a:lnTo>
                    <a:pt x="0" y="0"/>
                  </a:lnTo>
                  <a:lnTo>
                    <a:pt x="3448" y="0"/>
                  </a:lnTo>
                  <a:close/>
                </a:path>
              </a:pathLst>
            </a:custGeom>
            <a:solidFill>
              <a:srgbClr val="D6D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iṥlîḓe"/>
            <p:cNvSpPr/>
            <p:nvPr/>
          </p:nvSpPr>
          <p:spPr bwMode="auto">
            <a:xfrm>
              <a:off x="7017062" y="4933523"/>
              <a:ext cx="2196236" cy="728410"/>
            </a:xfrm>
            <a:custGeom>
              <a:avLst/>
              <a:gdLst>
                <a:gd name="T0" fmla="*/ 33 w 576"/>
                <a:gd name="T1" fmla="*/ 138 h 191"/>
                <a:gd name="T2" fmla="*/ 68 w 576"/>
                <a:gd name="T3" fmla="*/ 136 h 191"/>
                <a:gd name="T4" fmla="*/ 100 w 576"/>
                <a:gd name="T5" fmla="*/ 75 h 191"/>
                <a:gd name="T6" fmla="*/ 192 w 576"/>
                <a:gd name="T7" fmla="*/ 71 h 191"/>
                <a:gd name="T8" fmla="*/ 206 w 576"/>
                <a:gd name="T9" fmla="*/ 43 h 191"/>
                <a:gd name="T10" fmla="*/ 239 w 576"/>
                <a:gd name="T11" fmla="*/ 47 h 191"/>
                <a:gd name="T12" fmla="*/ 281 w 576"/>
                <a:gd name="T13" fmla="*/ 8 h 191"/>
                <a:gd name="T14" fmla="*/ 355 w 576"/>
                <a:gd name="T15" fmla="*/ 30 h 191"/>
                <a:gd name="T16" fmla="*/ 404 w 576"/>
                <a:gd name="T17" fmla="*/ 26 h 191"/>
                <a:gd name="T18" fmla="*/ 431 w 576"/>
                <a:gd name="T19" fmla="*/ 67 h 191"/>
                <a:gd name="T20" fmla="*/ 517 w 576"/>
                <a:gd name="T21" fmla="*/ 76 h 191"/>
                <a:gd name="T22" fmla="*/ 543 w 576"/>
                <a:gd name="T23" fmla="*/ 138 h 191"/>
                <a:gd name="T24" fmla="*/ 575 w 576"/>
                <a:gd name="T25" fmla="*/ 191 h 191"/>
                <a:gd name="T26" fmla="*/ 527 w 576"/>
                <a:gd name="T27" fmla="*/ 191 h 191"/>
                <a:gd name="T28" fmla="*/ 452 w 576"/>
                <a:gd name="T29" fmla="*/ 191 h 191"/>
                <a:gd name="T30" fmla="*/ 124 w 576"/>
                <a:gd name="T31" fmla="*/ 191 h 191"/>
                <a:gd name="T32" fmla="*/ 81 w 576"/>
                <a:gd name="T33" fmla="*/ 191 h 191"/>
                <a:gd name="T34" fmla="*/ 1 w 576"/>
                <a:gd name="T35" fmla="*/ 191 h 191"/>
                <a:gd name="T36" fmla="*/ 33 w 576"/>
                <a:gd name="T37" fmla="*/ 13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76" h="191">
                  <a:moveTo>
                    <a:pt x="33" y="138"/>
                  </a:moveTo>
                  <a:cubicBezTo>
                    <a:pt x="44" y="133"/>
                    <a:pt x="57" y="133"/>
                    <a:pt x="68" y="136"/>
                  </a:cubicBezTo>
                  <a:cubicBezTo>
                    <a:pt x="69" y="112"/>
                    <a:pt x="81" y="89"/>
                    <a:pt x="100" y="75"/>
                  </a:cubicBezTo>
                  <a:cubicBezTo>
                    <a:pt x="125" y="56"/>
                    <a:pt x="162" y="54"/>
                    <a:pt x="192" y="71"/>
                  </a:cubicBezTo>
                  <a:cubicBezTo>
                    <a:pt x="191" y="59"/>
                    <a:pt x="196" y="48"/>
                    <a:pt x="206" y="43"/>
                  </a:cubicBezTo>
                  <a:cubicBezTo>
                    <a:pt x="217" y="37"/>
                    <a:pt x="230" y="38"/>
                    <a:pt x="239" y="47"/>
                  </a:cubicBezTo>
                  <a:cubicBezTo>
                    <a:pt x="240" y="42"/>
                    <a:pt x="252" y="17"/>
                    <a:pt x="281" y="8"/>
                  </a:cubicBezTo>
                  <a:cubicBezTo>
                    <a:pt x="307" y="0"/>
                    <a:pt x="336" y="8"/>
                    <a:pt x="355" y="30"/>
                  </a:cubicBezTo>
                  <a:cubicBezTo>
                    <a:pt x="370" y="20"/>
                    <a:pt x="388" y="18"/>
                    <a:pt x="404" y="26"/>
                  </a:cubicBezTo>
                  <a:cubicBezTo>
                    <a:pt x="420" y="34"/>
                    <a:pt x="430" y="49"/>
                    <a:pt x="431" y="67"/>
                  </a:cubicBezTo>
                  <a:cubicBezTo>
                    <a:pt x="461" y="54"/>
                    <a:pt x="494" y="58"/>
                    <a:pt x="517" y="76"/>
                  </a:cubicBezTo>
                  <a:cubicBezTo>
                    <a:pt x="534" y="91"/>
                    <a:pt x="544" y="114"/>
                    <a:pt x="543" y="138"/>
                  </a:cubicBezTo>
                  <a:cubicBezTo>
                    <a:pt x="563" y="147"/>
                    <a:pt x="576" y="168"/>
                    <a:pt x="575" y="191"/>
                  </a:cubicBezTo>
                  <a:cubicBezTo>
                    <a:pt x="559" y="191"/>
                    <a:pt x="543" y="191"/>
                    <a:pt x="527" y="191"/>
                  </a:cubicBezTo>
                  <a:cubicBezTo>
                    <a:pt x="502" y="191"/>
                    <a:pt x="477" y="191"/>
                    <a:pt x="452" y="191"/>
                  </a:cubicBezTo>
                  <a:cubicBezTo>
                    <a:pt x="343" y="191"/>
                    <a:pt x="233" y="191"/>
                    <a:pt x="124" y="191"/>
                  </a:cubicBezTo>
                  <a:cubicBezTo>
                    <a:pt x="109" y="191"/>
                    <a:pt x="95" y="191"/>
                    <a:pt x="81" y="191"/>
                  </a:cubicBezTo>
                  <a:cubicBezTo>
                    <a:pt x="54" y="191"/>
                    <a:pt x="28" y="191"/>
                    <a:pt x="1" y="191"/>
                  </a:cubicBezTo>
                  <a:cubicBezTo>
                    <a:pt x="0" y="168"/>
                    <a:pt x="13" y="147"/>
                    <a:pt x="33" y="138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ṥḷîďê"/>
            <p:cNvSpPr/>
            <p:nvPr/>
          </p:nvSpPr>
          <p:spPr bwMode="auto">
            <a:xfrm>
              <a:off x="7145497" y="5250941"/>
              <a:ext cx="1183436" cy="410991"/>
            </a:xfrm>
            <a:custGeom>
              <a:avLst/>
              <a:gdLst>
                <a:gd name="T0" fmla="*/ 8 w 310"/>
                <a:gd name="T1" fmla="*/ 108 h 108"/>
                <a:gd name="T2" fmla="*/ 306 w 310"/>
                <a:gd name="T3" fmla="*/ 108 h 108"/>
                <a:gd name="T4" fmla="*/ 292 w 310"/>
                <a:gd name="T5" fmla="*/ 68 h 108"/>
                <a:gd name="T6" fmla="*/ 260 w 310"/>
                <a:gd name="T7" fmla="*/ 65 h 108"/>
                <a:gd name="T8" fmla="*/ 251 w 310"/>
                <a:gd name="T9" fmla="*/ 27 h 108"/>
                <a:gd name="T10" fmla="*/ 213 w 310"/>
                <a:gd name="T11" fmla="*/ 22 h 108"/>
                <a:gd name="T12" fmla="*/ 159 w 310"/>
                <a:gd name="T13" fmla="*/ 6 h 108"/>
                <a:gd name="T14" fmla="*/ 114 w 310"/>
                <a:gd name="T15" fmla="*/ 42 h 108"/>
                <a:gd name="T16" fmla="*/ 86 w 310"/>
                <a:gd name="T17" fmla="*/ 29 h 108"/>
                <a:gd name="T18" fmla="*/ 64 w 310"/>
                <a:gd name="T19" fmla="*/ 56 h 108"/>
                <a:gd name="T20" fmla="*/ 20 w 310"/>
                <a:gd name="T21" fmla="*/ 59 h 108"/>
                <a:gd name="T22" fmla="*/ 8 w 310"/>
                <a:gd name="T2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108">
                  <a:moveTo>
                    <a:pt x="8" y="108"/>
                  </a:moveTo>
                  <a:cubicBezTo>
                    <a:pt x="107" y="108"/>
                    <a:pt x="207" y="108"/>
                    <a:pt x="306" y="108"/>
                  </a:cubicBezTo>
                  <a:cubicBezTo>
                    <a:pt x="310" y="92"/>
                    <a:pt x="304" y="76"/>
                    <a:pt x="292" y="68"/>
                  </a:cubicBezTo>
                  <a:cubicBezTo>
                    <a:pt x="277" y="59"/>
                    <a:pt x="262" y="65"/>
                    <a:pt x="260" y="65"/>
                  </a:cubicBezTo>
                  <a:cubicBezTo>
                    <a:pt x="265" y="52"/>
                    <a:pt x="262" y="36"/>
                    <a:pt x="251" y="27"/>
                  </a:cubicBezTo>
                  <a:cubicBezTo>
                    <a:pt x="241" y="18"/>
                    <a:pt x="226" y="16"/>
                    <a:pt x="213" y="22"/>
                  </a:cubicBezTo>
                  <a:cubicBezTo>
                    <a:pt x="211" y="20"/>
                    <a:pt x="190" y="0"/>
                    <a:pt x="159" y="6"/>
                  </a:cubicBezTo>
                  <a:cubicBezTo>
                    <a:pt x="127" y="12"/>
                    <a:pt x="115" y="39"/>
                    <a:pt x="114" y="42"/>
                  </a:cubicBezTo>
                  <a:cubicBezTo>
                    <a:pt x="108" y="32"/>
                    <a:pt x="97" y="27"/>
                    <a:pt x="86" y="29"/>
                  </a:cubicBezTo>
                  <a:cubicBezTo>
                    <a:pt x="73" y="31"/>
                    <a:pt x="64" y="42"/>
                    <a:pt x="64" y="56"/>
                  </a:cubicBezTo>
                  <a:cubicBezTo>
                    <a:pt x="50" y="48"/>
                    <a:pt x="32" y="49"/>
                    <a:pt x="20" y="59"/>
                  </a:cubicBezTo>
                  <a:cubicBezTo>
                    <a:pt x="5" y="70"/>
                    <a:pt x="0" y="90"/>
                    <a:pt x="8" y="108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ṧḻiḓe"/>
            <p:cNvSpPr/>
            <p:nvPr/>
          </p:nvSpPr>
          <p:spPr bwMode="auto">
            <a:xfrm>
              <a:off x="7760148" y="5406897"/>
              <a:ext cx="18348" cy="236688"/>
            </a:xfrm>
            <a:custGeom>
              <a:avLst/>
              <a:gdLst>
                <a:gd name="T0" fmla="*/ 3 w 5"/>
                <a:gd name="T1" fmla="*/ 62 h 62"/>
                <a:gd name="T2" fmla="*/ 0 w 5"/>
                <a:gd name="T3" fmla="*/ 60 h 62"/>
                <a:gd name="T4" fmla="*/ 0 w 5"/>
                <a:gd name="T5" fmla="*/ 3 h 62"/>
                <a:gd name="T6" fmla="*/ 3 w 5"/>
                <a:gd name="T7" fmla="*/ 0 h 62"/>
                <a:gd name="T8" fmla="*/ 5 w 5"/>
                <a:gd name="T9" fmla="*/ 3 h 62"/>
                <a:gd name="T10" fmla="*/ 5 w 5"/>
                <a:gd name="T11" fmla="*/ 60 h 62"/>
                <a:gd name="T12" fmla="*/ 3 w 5"/>
                <a:gd name="T13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2">
                  <a:moveTo>
                    <a:pt x="3" y="62"/>
                  </a:moveTo>
                  <a:cubicBezTo>
                    <a:pt x="1" y="62"/>
                    <a:pt x="0" y="61"/>
                    <a:pt x="0" y="6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1"/>
                    <a:pt x="4" y="62"/>
                    <a:pt x="3" y="62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ş1idé"/>
            <p:cNvSpPr/>
            <p:nvPr/>
          </p:nvSpPr>
          <p:spPr bwMode="auto">
            <a:xfrm>
              <a:off x="7787671" y="5441759"/>
              <a:ext cx="244027" cy="132104"/>
            </a:xfrm>
            <a:custGeom>
              <a:avLst/>
              <a:gdLst>
                <a:gd name="T0" fmla="*/ 2 w 64"/>
                <a:gd name="T1" fmla="*/ 35 h 35"/>
                <a:gd name="T2" fmla="*/ 0 w 64"/>
                <a:gd name="T3" fmla="*/ 34 h 35"/>
                <a:gd name="T4" fmla="*/ 1 w 64"/>
                <a:gd name="T5" fmla="*/ 31 h 35"/>
                <a:gd name="T6" fmla="*/ 60 w 64"/>
                <a:gd name="T7" fmla="*/ 1 h 35"/>
                <a:gd name="T8" fmla="*/ 63 w 64"/>
                <a:gd name="T9" fmla="*/ 2 h 35"/>
                <a:gd name="T10" fmla="*/ 62 w 64"/>
                <a:gd name="T11" fmla="*/ 5 h 35"/>
                <a:gd name="T12" fmla="*/ 3 w 64"/>
                <a:gd name="T13" fmla="*/ 35 h 35"/>
                <a:gd name="T14" fmla="*/ 2 w 64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35">
                  <a:moveTo>
                    <a:pt x="2" y="35"/>
                  </a:moveTo>
                  <a:cubicBezTo>
                    <a:pt x="2" y="35"/>
                    <a:pt x="1" y="35"/>
                    <a:pt x="0" y="34"/>
                  </a:cubicBezTo>
                  <a:cubicBezTo>
                    <a:pt x="0" y="33"/>
                    <a:pt x="0" y="31"/>
                    <a:pt x="1" y="3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1" y="0"/>
                    <a:pt x="63" y="1"/>
                    <a:pt x="63" y="2"/>
                  </a:cubicBezTo>
                  <a:cubicBezTo>
                    <a:pt x="64" y="3"/>
                    <a:pt x="63" y="4"/>
                    <a:pt x="62" y="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2" y="35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Sḷiḓè"/>
            <p:cNvSpPr/>
            <p:nvPr/>
          </p:nvSpPr>
          <p:spPr bwMode="auto">
            <a:xfrm>
              <a:off x="7516123" y="5428914"/>
              <a:ext cx="187148" cy="152288"/>
            </a:xfrm>
            <a:custGeom>
              <a:avLst/>
              <a:gdLst>
                <a:gd name="T0" fmla="*/ 46 w 49"/>
                <a:gd name="T1" fmla="*/ 40 h 40"/>
                <a:gd name="T2" fmla="*/ 45 w 49"/>
                <a:gd name="T3" fmla="*/ 39 h 40"/>
                <a:gd name="T4" fmla="*/ 1 w 49"/>
                <a:gd name="T5" fmla="*/ 4 h 40"/>
                <a:gd name="T6" fmla="*/ 1 w 49"/>
                <a:gd name="T7" fmla="*/ 1 h 40"/>
                <a:gd name="T8" fmla="*/ 4 w 49"/>
                <a:gd name="T9" fmla="*/ 0 h 40"/>
                <a:gd name="T10" fmla="*/ 48 w 49"/>
                <a:gd name="T11" fmla="*/ 36 h 40"/>
                <a:gd name="T12" fmla="*/ 48 w 49"/>
                <a:gd name="T13" fmla="*/ 39 h 40"/>
                <a:gd name="T14" fmla="*/ 46 w 49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40">
                  <a:moveTo>
                    <a:pt x="46" y="40"/>
                  </a:moveTo>
                  <a:cubicBezTo>
                    <a:pt x="46" y="40"/>
                    <a:pt x="45" y="40"/>
                    <a:pt x="45" y="3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7"/>
                    <a:pt x="49" y="38"/>
                    <a:pt x="48" y="39"/>
                  </a:cubicBezTo>
                  <a:cubicBezTo>
                    <a:pt x="48" y="40"/>
                    <a:pt x="47" y="40"/>
                    <a:pt x="46" y="40"/>
                  </a:cubicBezTo>
                  <a:close/>
                </a:path>
              </a:pathLst>
            </a:custGeom>
            <a:solidFill>
              <a:srgbClr val="878C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šḷiḋê"/>
            <p:cNvSpPr/>
            <p:nvPr/>
          </p:nvSpPr>
          <p:spPr bwMode="auto">
            <a:xfrm>
              <a:off x="8233523" y="5159202"/>
              <a:ext cx="18348" cy="453192"/>
            </a:xfrm>
            <a:custGeom>
              <a:avLst/>
              <a:gdLst>
                <a:gd name="T0" fmla="*/ 3 w 5"/>
                <a:gd name="T1" fmla="*/ 119 h 119"/>
                <a:gd name="T2" fmla="*/ 0 w 5"/>
                <a:gd name="T3" fmla="*/ 117 h 119"/>
                <a:gd name="T4" fmla="*/ 0 w 5"/>
                <a:gd name="T5" fmla="*/ 2 h 119"/>
                <a:gd name="T6" fmla="*/ 3 w 5"/>
                <a:gd name="T7" fmla="*/ 0 h 119"/>
                <a:gd name="T8" fmla="*/ 5 w 5"/>
                <a:gd name="T9" fmla="*/ 2 h 119"/>
                <a:gd name="T10" fmla="*/ 5 w 5"/>
                <a:gd name="T11" fmla="*/ 117 h 119"/>
                <a:gd name="T12" fmla="*/ 3 w 5"/>
                <a:gd name="T1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9">
                  <a:moveTo>
                    <a:pt x="3" y="119"/>
                  </a:moveTo>
                  <a:cubicBezTo>
                    <a:pt x="1" y="119"/>
                    <a:pt x="0" y="118"/>
                    <a:pt x="0" y="1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8"/>
                    <a:pt x="4" y="119"/>
                    <a:pt x="3" y="119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$ļidé"/>
            <p:cNvSpPr/>
            <p:nvPr/>
          </p:nvSpPr>
          <p:spPr bwMode="auto">
            <a:xfrm>
              <a:off x="8244531" y="5333506"/>
              <a:ext cx="431175" cy="148618"/>
            </a:xfrm>
            <a:custGeom>
              <a:avLst/>
              <a:gdLst>
                <a:gd name="T0" fmla="*/ 2 w 113"/>
                <a:gd name="T1" fmla="*/ 39 h 39"/>
                <a:gd name="T2" fmla="*/ 0 w 113"/>
                <a:gd name="T3" fmla="*/ 37 h 39"/>
                <a:gd name="T4" fmla="*/ 2 w 113"/>
                <a:gd name="T5" fmla="*/ 34 h 39"/>
                <a:gd name="T6" fmla="*/ 110 w 113"/>
                <a:gd name="T7" fmla="*/ 0 h 39"/>
                <a:gd name="T8" fmla="*/ 113 w 113"/>
                <a:gd name="T9" fmla="*/ 2 h 39"/>
                <a:gd name="T10" fmla="*/ 111 w 113"/>
                <a:gd name="T11" fmla="*/ 5 h 39"/>
                <a:gd name="T12" fmla="*/ 3 w 113"/>
                <a:gd name="T13" fmla="*/ 38 h 39"/>
                <a:gd name="T14" fmla="*/ 2 w 11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39">
                  <a:moveTo>
                    <a:pt x="2" y="39"/>
                  </a:moveTo>
                  <a:cubicBezTo>
                    <a:pt x="1" y="39"/>
                    <a:pt x="0" y="38"/>
                    <a:pt x="0" y="37"/>
                  </a:cubicBezTo>
                  <a:cubicBezTo>
                    <a:pt x="0" y="36"/>
                    <a:pt x="0" y="34"/>
                    <a:pt x="2" y="3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2" y="1"/>
                    <a:pt x="113" y="2"/>
                  </a:cubicBezTo>
                  <a:cubicBezTo>
                    <a:pt x="113" y="3"/>
                    <a:pt x="112" y="5"/>
                    <a:pt x="111" y="5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2" y="39"/>
                    <a:pt x="2" y="39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ṣ1ïḍê"/>
            <p:cNvSpPr/>
            <p:nvPr/>
          </p:nvSpPr>
          <p:spPr bwMode="auto">
            <a:xfrm>
              <a:off x="8462871" y="5258280"/>
              <a:ext cx="56879" cy="144948"/>
            </a:xfrm>
            <a:custGeom>
              <a:avLst/>
              <a:gdLst>
                <a:gd name="T0" fmla="*/ 3 w 15"/>
                <a:gd name="T1" fmla="*/ 38 h 38"/>
                <a:gd name="T2" fmla="*/ 2 w 15"/>
                <a:gd name="T3" fmla="*/ 38 h 38"/>
                <a:gd name="T4" fmla="*/ 1 w 15"/>
                <a:gd name="T5" fmla="*/ 35 h 38"/>
                <a:gd name="T6" fmla="*/ 10 w 15"/>
                <a:gd name="T7" fmla="*/ 2 h 38"/>
                <a:gd name="T8" fmla="*/ 13 w 15"/>
                <a:gd name="T9" fmla="*/ 0 h 38"/>
                <a:gd name="T10" fmla="*/ 15 w 15"/>
                <a:gd name="T11" fmla="*/ 3 h 38"/>
                <a:gd name="T12" fmla="*/ 5 w 15"/>
                <a:gd name="T13" fmla="*/ 37 h 38"/>
                <a:gd name="T14" fmla="*/ 3 w 15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8">
                  <a:moveTo>
                    <a:pt x="3" y="38"/>
                  </a:moveTo>
                  <a:cubicBezTo>
                    <a:pt x="3" y="38"/>
                    <a:pt x="3" y="38"/>
                    <a:pt x="2" y="38"/>
                  </a:cubicBezTo>
                  <a:cubicBezTo>
                    <a:pt x="1" y="38"/>
                    <a:pt x="0" y="36"/>
                    <a:pt x="1" y="35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1"/>
                    <a:pt x="12" y="0"/>
                    <a:pt x="13" y="0"/>
                  </a:cubicBezTo>
                  <a:cubicBezTo>
                    <a:pt x="14" y="1"/>
                    <a:pt x="15" y="2"/>
                    <a:pt x="15" y="3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8"/>
                    <a:pt x="4" y="38"/>
                    <a:pt x="3" y="38"/>
                  </a:cubicBezTo>
                  <a:close/>
                </a:path>
              </a:pathLst>
            </a:custGeom>
            <a:solidFill>
              <a:srgbClr val="778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Sḻïḓê"/>
            <p:cNvSpPr/>
            <p:nvPr/>
          </p:nvSpPr>
          <p:spPr bwMode="auto">
            <a:xfrm>
              <a:off x="3923617" y="3386801"/>
              <a:ext cx="122931" cy="106417"/>
            </a:xfrm>
            <a:custGeom>
              <a:avLst/>
              <a:gdLst>
                <a:gd name="T0" fmla="*/ 21 w 32"/>
                <a:gd name="T1" fmla="*/ 28 h 28"/>
                <a:gd name="T2" fmla="*/ 16 w 32"/>
                <a:gd name="T3" fmla="*/ 24 h 28"/>
                <a:gd name="T4" fmla="*/ 0 w 32"/>
                <a:gd name="T5" fmla="*/ 1 h 28"/>
                <a:gd name="T6" fmla="*/ 1 w 32"/>
                <a:gd name="T7" fmla="*/ 0 h 28"/>
                <a:gd name="T8" fmla="*/ 32 w 32"/>
                <a:gd name="T9" fmla="*/ 1 h 28"/>
                <a:gd name="T10" fmla="*/ 30 w 32"/>
                <a:gd name="T11" fmla="*/ 28 h 28"/>
                <a:gd name="T12" fmla="*/ 21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21" y="28"/>
                  </a:moveTo>
                  <a:cubicBezTo>
                    <a:pt x="19" y="27"/>
                    <a:pt x="17" y="25"/>
                    <a:pt x="16" y="24"/>
                  </a:cubicBezTo>
                  <a:cubicBezTo>
                    <a:pt x="11" y="10"/>
                    <a:pt x="4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1"/>
                    <a:pt x="32" y="1"/>
                    <a:pt x="32" y="1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21" y="28"/>
                    <a:pt x="21" y="28"/>
                    <a:pt x="21" y="28"/>
                  </a:cubicBezTo>
                  <a:close/>
                </a:path>
              </a:pathLst>
            </a:custGeom>
            <a:solidFill>
              <a:srgbClr val="EDBF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$ľîďé"/>
            <p:cNvSpPr/>
            <p:nvPr/>
          </p:nvSpPr>
          <p:spPr bwMode="auto">
            <a:xfrm>
              <a:off x="3650234" y="3364784"/>
              <a:ext cx="354114" cy="888035"/>
            </a:xfrm>
            <a:custGeom>
              <a:avLst/>
              <a:gdLst>
                <a:gd name="T0" fmla="*/ 41 w 93"/>
                <a:gd name="T1" fmla="*/ 13 h 233"/>
                <a:gd name="T2" fmla="*/ 56 w 93"/>
                <a:gd name="T3" fmla="*/ 47 h 233"/>
                <a:gd name="T4" fmla="*/ 93 w 93"/>
                <a:gd name="T5" fmla="*/ 76 h 233"/>
                <a:gd name="T6" fmla="*/ 89 w 93"/>
                <a:gd name="T7" fmla="*/ 227 h 233"/>
                <a:gd name="T8" fmla="*/ 83 w 93"/>
                <a:gd name="T9" fmla="*/ 229 h 233"/>
                <a:gd name="T10" fmla="*/ 8 w 93"/>
                <a:gd name="T11" fmla="*/ 231 h 233"/>
                <a:gd name="T12" fmla="*/ 2 w 93"/>
                <a:gd name="T13" fmla="*/ 228 h 233"/>
                <a:gd name="T14" fmla="*/ 13 w 93"/>
                <a:gd name="T15" fmla="*/ 85 h 233"/>
                <a:gd name="T16" fmla="*/ 39 w 93"/>
                <a:gd name="T17" fmla="*/ 5 h 233"/>
                <a:gd name="T18" fmla="*/ 39 w 93"/>
                <a:gd name="T19" fmla="*/ 4 h 233"/>
                <a:gd name="T20" fmla="*/ 40 w 93"/>
                <a:gd name="T21" fmla="*/ 4 h 233"/>
                <a:gd name="T22" fmla="*/ 70 w 93"/>
                <a:gd name="T23" fmla="*/ 5 h 233"/>
                <a:gd name="T24" fmla="*/ 72 w 93"/>
                <a:gd name="T25" fmla="*/ 7 h 233"/>
                <a:gd name="T26" fmla="*/ 88 w 93"/>
                <a:gd name="T27" fmla="*/ 30 h 233"/>
                <a:gd name="T28" fmla="*/ 72 w 93"/>
                <a:gd name="T29" fmla="*/ 19 h 233"/>
                <a:gd name="T30" fmla="*/ 41 w 93"/>
                <a:gd name="T31" fmla="*/ 1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" h="233">
                  <a:moveTo>
                    <a:pt x="41" y="13"/>
                  </a:moveTo>
                  <a:cubicBezTo>
                    <a:pt x="34" y="26"/>
                    <a:pt x="47" y="39"/>
                    <a:pt x="56" y="47"/>
                  </a:cubicBezTo>
                  <a:cubicBezTo>
                    <a:pt x="60" y="51"/>
                    <a:pt x="77" y="64"/>
                    <a:pt x="93" y="76"/>
                  </a:cubicBezTo>
                  <a:cubicBezTo>
                    <a:pt x="92" y="94"/>
                    <a:pt x="91" y="222"/>
                    <a:pt x="89" y="227"/>
                  </a:cubicBezTo>
                  <a:cubicBezTo>
                    <a:pt x="88" y="228"/>
                    <a:pt x="86" y="228"/>
                    <a:pt x="83" y="229"/>
                  </a:cubicBezTo>
                  <a:cubicBezTo>
                    <a:pt x="68" y="232"/>
                    <a:pt x="24" y="233"/>
                    <a:pt x="8" y="231"/>
                  </a:cubicBezTo>
                  <a:cubicBezTo>
                    <a:pt x="5" y="230"/>
                    <a:pt x="2" y="229"/>
                    <a:pt x="2" y="228"/>
                  </a:cubicBezTo>
                  <a:cubicBezTo>
                    <a:pt x="0" y="222"/>
                    <a:pt x="3" y="136"/>
                    <a:pt x="13" y="85"/>
                  </a:cubicBezTo>
                  <a:cubicBezTo>
                    <a:pt x="22" y="34"/>
                    <a:pt x="36" y="15"/>
                    <a:pt x="39" y="5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9" y="6"/>
                    <a:pt x="70" y="5"/>
                    <a:pt x="70" y="5"/>
                  </a:cubicBezTo>
                  <a:cubicBezTo>
                    <a:pt x="70" y="5"/>
                    <a:pt x="71" y="5"/>
                    <a:pt x="72" y="7"/>
                  </a:cubicBezTo>
                  <a:cubicBezTo>
                    <a:pt x="76" y="10"/>
                    <a:pt x="83" y="16"/>
                    <a:pt x="88" y="30"/>
                  </a:cubicBezTo>
                  <a:cubicBezTo>
                    <a:pt x="78" y="23"/>
                    <a:pt x="72" y="19"/>
                    <a:pt x="72" y="19"/>
                  </a:cubicBezTo>
                  <a:cubicBezTo>
                    <a:pt x="72" y="19"/>
                    <a:pt x="48" y="0"/>
                    <a:pt x="41" y="13"/>
                  </a:cubicBezTo>
                  <a:close/>
                </a:path>
              </a:pathLst>
            </a:custGeom>
            <a:solidFill>
              <a:srgbClr val="FBD1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$ḻíde"/>
            <p:cNvSpPr/>
            <p:nvPr/>
          </p:nvSpPr>
          <p:spPr bwMode="auto">
            <a:xfrm>
              <a:off x="3786008" y="3078557"/>
              <a:ext cx="256870" cy="266044"/>
            </a:xfrm>
            <a:custGeom>
              <a:avLst/>
              <a:gdLst>
                <a:gd name="T0" fmla="*/ 37 w 67"/>
                <a:gd name="T1" fmla="*/ 38 h 70"/>
                <a:gd name="T2" fmla="*/ 31 w 67"/>
                <a:gd name="T3" fmla="*/ 41 h 70"/>
                <a:gd name="T4" fmla="*/ 30 w 67"/>
                <a:gd name="T5" fmla="*/ 51 h 70"/>
                <a:gd name="T6" fmla="*/ 20 w 67"/>
                <a:gd name="T7" fmla="*/ 40 h 70"/>
                <a:gd name="T8" fmla="*/ 17 w 67"/>
                <a:gd name="T9" fmla="*/ 52 h 70"/>
                <a:gd name="T10" fmla="*/ 17 w 67"/>
                <a:gd name="T11" fmla="*/ 52 h 70"/>
                <a:gd name="T12" fmla="*/ 5 w 67"/>
                <a:gd name="T13" fmla="*/ 70 h 70"/>
                <a:gd name="T14" fmla="*/ 4 w 67"/>
                <a:gd name="T15" fmla="*/ 70 h 70"/>
                <a:gd name="T16" fmla="*/ 2 w 67"/>
                <a:gd name="T17" fmla="*/ 48 h 70"/>
                <a:gd name="T18" fmla="*/ 17 w 67"/>
                <a:gd name="T19" fmla="*/ 11 h 70"/>
                <a:gd name="T20" fmla="*/ 66 w 67"/>
                <a:gd name="T21" fmla="*/ 19 h 70"/>
                <a:gd name="T22" fmla="*/ 57 w 67"/>
                <a:gd name="T23" fmla="*/ 29 h 70"/>
                <a:gd name="T24" fmla="*/ 41 w 67"/>
                <a:gd name="T25" fmla="*/ 28 h 70"/>
                <a:gd name="T26" fmla="*/ 37 w 67"/>
                <a:gd name="T27" fmla="*/ 3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70">
                  <a:moveTo>
                    <a:pt x="37" y="38"/>
                  </a:moveTo>
                  <a:cubicBezTo>
                    <a:pt x="35" y="39"/>
                    <a:pt x="31" y="39"/>
                    <a:pt x="31" y="41"/>
                  </a:cubicBezTo>
                  <a:cubicBezTo>
                    <a:pt x="31" y="44"/>
                    <a:pt x="33" y="51"/>
                    <a:pt x="30" y="51"/>
                  </a:cubicBezTo>
                  <a:cubicBezTo>
                    <a:pt x="27" y="52"/>
                    <a:pt x="25" y="38"/>
                    <a:pt x="20" y="40"/>
                  </a:cubicBezTo>
                  <a:cubicBezTo>
                    <a:pt x="17" y="42"/>
                    <a:pt x="14" y="47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1" y="65"/>
                    <a:pt x="5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62"/>
                    <a:pt x="2" y="55"/>
                    <a:pt x="2" y="48"/>
                  </a:cubicBezTo>
                  <a:cubicBezTo>
                    <a:pt x="1" y="38"/>
                    <a:pt x="0" y="23"/>
                    <a:pt x="17" y="11"/>
                  </a:cubicBezTo>
                  <a:cubicBezTo>
                    <a:pt x="35" y="0"/>
                    <a:pt x="65" y="17"/>
                    <a:pt x="66" y="19"/>
                  </a:cubicBezTo>
                  <a:cubicBezTo>
                    <a:pt x="67" y="21"/>
                    <a:pt x="57" y="29"/>
                    <a:pt x="57" y="29"/>
                  </a:cubicBezTo>
                  <a:cubicBezTo>
                    <a:pt x="57" y="29"/>
                    <a:pt x="43" y="27"/>
                    <a:pt x="41" y="28"/>
                  </a:cubicBezTo>
                  <a:cubicBezTo>
                    <a:pt x="39" y="30"/>
                    <a:pt x="39" y="36"/>
                    <a:pt x="37" y="38"/>
                  </a:cubicBezTo>
                  <a:close/>
                </a:path>
              </a:pathLst>
            </a:cu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$ľiďé"/>
            <p:cNvSpPr/>
            <p:nvPr/>
          </p:nvSpPr>
          <p:spPr bwMode="auto">
            <a:xfrm>
              <a:off x="3340156" y="5581202"/>
              <a:ext cx="240357" cy="106417"/>
            </a:xfrm>
            <a:custGeom>
              <a:avLst/>
              <a:gdLst>
                <a:gd name="T0" fmla="*/ 35 w 63"/>
                <a:gd name="T1" fmla="*/ 1 h 28"/>
                <a:gd name="T2" fmla="*/ 60 w 63"/>
                <a:gd name="T3" fmla="*/ 21 h 28"/>
                <a:gd name="T4" fmla="*/ 1 w 63"/>
                <a:gd name="T5" fmla="*/ 21 h 28"/>
                <a:gd name="T6" fmla="*/ 5 w 63"/>
                <a:gd name="T7" fmla="*/ 0 h 28"/>
                <a:gd name="T8" fmla="*/ 35 w 63"/>
                <a:gd name="T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8">
                  <a:moveTo>
                    <a:pt x="35" y="1"/>
                  </a:moveTo>
                  <a:cubicBezTo>
                    <a:pt x="38" y="11"/>
                    <a:pt x="63" y="13"/>
                    <a:pt x="60" y="21"/>
                  </a:cubicBezTo>
                  <a:cubicBezTo>
                    <a:pt x="58" y="28"/>
                    <a:pt x="3" y="27"/>
                    <a:pt x="1" y="21"/>
                  </a:cubicBezTo>
                  <a:cubicBezTo>
                    <a:pt x="0" y="19"/>
                    <a:pt x="2" y="12"/>
                    <a:pt x="5" y="0"/>
                  </a:cubicBezTo>
                  <a:cubicBezTo>
                    <a:pt x="17" y="4"/>
                    <a:pt x="35" y="1"/>
                    <a:pt x="35" y="1"/>
                  </a:cubicBezTo>
                  <a:close/>
                </a:path>
              </a:pathLst>
            </a:cu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ŝḷîḋè"/>
            <p:cNvSpPr/>
            <p:nvPr/>
          </p:nvSpPr>
          <p:spPr bwMode="auto">
            <a:xfrm>
              <a:off x="4085078" y="5597715"/>
              <a:ext cx="251366" cy="106417"/>
            </a:xfrm>
            <a:custGeom>
              <a:avLst/>
              <a:gdLst>
                <a:gd name="T0" fmla="*/ 65 w 66"/>
                <a:gd name="T1" fmla="*/ 20 h 28"/>
                <a:gd name="T2" fmla="*/ 2 w 66"/>
                <a:gd name="T3" fmla="*/ 20 h 28"/>
                <a:gd name="T4" fmla="*/ 0 w 66"/>
                <a:gd name="T5" fmla="*/ 3 h 28"/>
                <a:gd name="T6" fmla="*/ 33 w 66"/>
                <a:gd name="T7" fmla="*/ 1 h 28"/>
                <a:gd name="T8" fmla="*/ 33 w 66"/>
                <a:gd name="T9" fmla="*/ 0 h 28"/>
                <a:gd name="T10" fmla="*/ 65 w 66"/>
                <a:gd name="T1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28">
                  <a:moveTo>
                    <a:pt x="65" y="20"/>
                  </a:moveTo>
                  <a:cubicBezTo>
                    <a:pt x="66" y="28"/>
                    <a:pt x="2" y="20"/>
                    <a:pt x="2" y="20"/>
                  </a:cubicBezTo>
                  <a:cubicBezTo>
                    <a:pt x="2" y="20"/>
                    <a:pt x="1" y="13"/>
                    <a:pt x="0" y="3"/>
                  </a:cubicBezTo>
                  <a:cubicBezTo>
                    <a:pt x="17" y="6"/>
                    <a:pt x="33" y="1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8" y="3"/>
                    <a:pt x="64" y="13"/>
                    <a:pt x="65" y="20"/>
                  </a:cubicBezTo>
                  <a:close/>
                </a:path>
              </a:pathLst>
            </a:cu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íšļïdé"/>
            <p:cNvSpPr/>
            <p:nvPr/>
          </p:nvSpPr>
          <p:spPr bwMode="auto">
            <a:xfrm>
              <a:off x="3360338" y="4260158"/>
              <a:ext cx="477044" cy="1337558"/>
            </a:xfrm>
            <a:custGeom>
              <a:avLst/>
              <a:gdLst>
                <a:gd name="T0" fmla="*/ 125 w 125"/>
                <a:gd name="T1" fmla="*/ 76 h 351"/>
                <a:gd name="T2" fmla="*/ 125 w 125"/>
                <a:gd name="T3" fmla="*/ 77 h 351"/>
                <a:gd name="T4" fmla="*/ 30 w 125"/>
                <a:gd name="T5" fmla="*/ 348 h 351"/>
                <a:gd name="T6" fmla="*/ 0 w 125"/>
                <a:gd name="T7" fmla="*/ 347 h 351"/>
                <a:gd name="T8" fmla="*/ 60 w 125"/>
                <a:gd name="T9" fmla="*/ 148 h 351"/>
                <a:gd name="T10" fmla="*/ 85 w 125"/>
                <a:gd name="T11" fmla="*/ 0 h 351"/>
                <a:gd name="T12" fmla="*/ 114 w 125"/>
                <a:gd name="T13" fmla="*/ 57 h 351"/>
                <a:gd name="T14" fmla="*/ 125 w 125"/>
                <a:gd name="T15" fmla="*/ 76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351">
                  <a:moveTo>
                    <a:pt x="125" y="76"/>
                  </a:moveTo>
                  <a:cubicBezTo>
                    <a:pt x="125" y="77"/>
                    <a:pt x="125" y="77"/>
                    <a:pt x="125" y="77"/>
                  </a:cubicBezTo>
                  <a:cubicBezTo>
                    <a:pt x="121" y="173"/>
                    <a:pt x="28" y="338"/>
                    <a:pt x="30" y="348"/>
                  </a:cubicBezTo>
                  <a:cubicBezTo>
                    <a:pt x="30" y="348"/>
                    <a:pt x="12" y="351"/>
                    <a:pt x="0" y="347"/>
                  </a:cubicBezTo>
                  <a:cubicBezTo>
                    <a:pt x="15" y="296"/>
                    <a:pt x="57" y="158"/>
                    <a:pt x="60" y="148"/>
                  </a:cubicBezTo>
                  <a:cubicBezTo>
                    <a:pt x="63" y="137"/>
                    <a:pt x="84" y="5"/>
                    <a:pt x="85" y="0"/>
                  </a:cubicBezTo>
                  <a:cubicBezTo>
                    <a:pt x="86" y="6"/>
                    <a:pt x="92" y="23"/>
                    <a:pt x="114" y="57"/>
                  </a:cubicBezTo>
                  <a:cubicBezTo>
                    <a:pt x="118" y="64"/>
                    <a:pt x="122" y="70"/>
                    <a:pt x="125" y="76"/>
                  </a:cubicBezTo>
                  <a:close/>
                </a:path>
              </a:pathLst>
            </a:custGeom>
            <a:solidFill>
              <a:srgbClr val="11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ŝ1ïďe"/>
            <p:cNvSpPr/>
            <p:nvPr/>
          </p:nvSpPr>
          <p:spPr bwMode="auto">
            <a:xfrm>
              <a:off x="3679590" y="4236305"/>
              <a:ext cx="530253" cy="1383427"/>
            </a:xfrm>
            <a:custGeom>
              <a:avLst/>
              <a:gdLst>
                <a:gd name="T0" fmla="*/ 138 w 139"/>
                <a:gd name="T1" fmla="*/ 356 h 363"/>
                <a:gd name="T2" fmla="*/ 139 w 139"/>
                <a:gd name="T3" fmla="*/ 357 h 363"/>
                <a:gd name="T4" fmla="*/ 139 w 139"/>
                <a:gd name="T5" fmla="*/ 358 h 363"/>
                <a:gd name="T6" fmla="*/ 106 w 139"/>
                <a:gd name="T7" fmla="*/ 360 h 363"/>
                <a:gd name="T8" fmla="*/ 81 w 139"/>
                <a:gd name="T9" fmla="*/ 156 h 363"/>
                <a:gd name="T10" fmla="*/ 41 w 139"/>
                <a:gd name="T11" fmla="*/ 82 h 363"/>
                <a:gd name="T12" fmla="*/ 30 w 139"/>
                <a:gd name="T13" fmla="*/ 63 h 363"/>
                <a:gd name="T14" fmla="*/ 1 w 139"/>
                <a:gd name="T15" fmla="*/ 6 h 363"/>
                <a:gd name="T16" fmla="*/ 0 w 139"/>
                <a:gd name="T17" fmla="*/ 2 h 363"/>
                <a:gd name="T18" fmla="*/ 75 w 139"/>
                <a:gd name="T19" fmla="*/ 0 h 363"/>
                <a:gd name="T20" fmla="*/ 125 w 139"/>
                <a:gd name="T21" fmla="*/ 144 h 363"/>
                <a:gd name="T22" fmla="*/ 138 w 139"/>
                <a:gd name="T23" fmla="*/ 356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363">
                  <a:moveTo>
                    <a:pt x="138" y="356"/>
                  </a:moveTo>
                  <a:cubicBezTo>
                    <a:pt x="139" y="357"/>
                    <a:pt x="139" y="357"/>
                    <a:pt x="139" y="357"/>
                  </a:cubicBezTo>
                  <a:cubicBezTo>
                    <a:pt x="139" y="358"/>
                    <a:pt x="139" y="358"/>
                    <a:pt x="139" y="358"/>
                  </a:cubicBezTo>
                  <a:cubicBezTo>
                    <a:pt x="139" y="358"/>
                    <a:pt x="123" y="363"/>
                    <a:pt x="106" y="360"/>
                  </a:cubicBezTo>
                  <a:cubicBezTo>
                    <a:pt x="100" y="311"/>
                    <a:pt x="84" y="168"/>
                    <a:pt x="81" y="156"/>
                  </a:cubicBezTo>
                  <a:cubicBezTo>
                    <a:pt x="78" y="143"/>
                    <a:pt x="65" y="120"/>
                    <a:pt x="41" y="82"/>
                  </a:cubicBezTo>
                  <a:cubicBezTo>
                    <a:pt x="38" y="76"/>
                    <a:pt x="34" y="70"/>
                    <a:pt x="30" y="63"/>
                  </a:cubicBezTo>
                  <a:cubicBezTo>
                    <a:pt x="8" y="29"/>
                    <a:pt x="2" y="12"/>
                    <a:pt x="1" y="6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6" y="4"/>
                    <a:pt x="60" y="3"/>
                    <a:pt x="75" y="0"/>
                  </a:cubicBezTo>
                  <a:cubicBezTo>
                    <a:pt x="102" y="57"/>
                    <a:pt x="118" y="120"/>
                    <a:pt x="125" y="144"/>
                  </a:cubicBezTo>
                  <a:cubicBezTo>
                    <a:pt x="133" y="168"/>
                    <a:pt x="137" y="354"/>
                    <a:pt x="138" y="356"/>
                  </a:cubicBezTo>
                  <a:close/>
                </a:path>
              </a:pathLst>
            </a:custGeom>
            <a:solidFill>
              <a:srgbClr val="11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íṣľïḑê"/>
            <p:cNvSpPr/>
            <p:nvPr/>
          </p:nvSpPr>
          <p:spPr bwMode="auto">
            <a:xfrm>
              <a:off x="3798852" y="3181305"/>
              <a:ext cx="216504" cy="205496"/>
            </a:xfrm>
            <a:custGeom>
              <a:avLst/>
              <a:gdLst>
                <a:gd name="T0" fmla="*/ 27 w 57"/>
                <a:gd name="T1" fmla="*/ 24 h 54"/>
                <a:gd name="T2" fmla="*/ 28 w 57"/>
                <a:gd name="T3" fmla="*/ 14 h 54"/>
                <a:gd name="T4" fmla="*/ 34 w 57"/>
                <a:gd name="T5" fmla="*/ 11 h 54"/>
                <a:gd name="T6" fmla="*/ 38 w 57"/>
                <a:gd name="T7" fmla="*/ 1 h 54"/>
                <a:gd name="T8" fmla="*/ 54 w 57"/>
                <a:gd name="T9" fmla="*/ 2 h 54"/>
                <a:gd name="T10" fmla="*/ 45 w 57"/>
                <a:gd name="T11" fmla="*/ 44 h 54"/>
                <a:gd name="T12" fmla="*/ 33 w 57"/>
                <a:gd name="T13" fmla="*/ 44 h 54"/>
                <a:gd name="T14" fmla="*/ 31 w 57"/>
                <a:gd name="T15" fmla="*/ 53 h 54"/>
                <a:gd name="T16" fmla="*/ 1 w 57"/>
                <a:gd name="T17" fmla="*/ 52 h 54"/>
                <a:gd name="T18" fmla="*/ 0 w 57"/>
                <a:gd name="T19" fmla="*/ 52 h 54"/>
                <a:gd name="T20" fmla="*/ 1 w 57"/>
                <a:gd name="T21" fmla="*/ 43 h 54"/>
                <a:gd name="T22" fmla="*/ 2 w 57"/>
                <a:gd name="T23" fmla="*/ 43 h 54"/>
                <a:gd name="T24" fmla="*/ 14 w 57"/>
                <a:gd name="T25" fmla="*/ 25 h 54"/>
                <a:gd name="T26" fmla="*/ 14 w 57"/>
                <a:gd name="T27" fmla="*/ 25 h 54"/>
                <a:gd name="T28" fmla="*/ 17 w 57"/>
                <a:gd name="T29" fmla="*/ 13 h 54"/>
                <a:gd name="T30" fmla="*/ 27 w 57"/>
                <a:gd name="T31" fmla="*/ 2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7" h="54">
                  <a:moveTo>
                    <a:pt x="27" y="24"/>
                  </a:moveTo>
                  <a:cubicBezTo>
                    <a:pt x="30" y="24"/>
                    <a:pt x="28" y="17"/>
                    <a:pt x="28" y="14"/>
                  </a:cubicBezTo>
                  <a:cubicBezTo>
                    <a:pt x="28" y="12"/>
                    <a:pt x="32" y="12"/>
                    <a:pt x="34" y="11"/>
                  </a:cubicBezTo>
                  <a:cubicBezTo>
                    <a:pt x="36" y="9"/>
                    <a:pt x="36" y="3"/>
                    <a:pt x="38" y="1"/>
                  </a:cubicBezTo>
                  <a:cubicBezTo>
                    <a:pt x="40" y="0"/>
                    <a:pt x="54" y="2"/>
                    <a:pt x="54" y="2"/>
                  </a:cubicBezTo>
                  <a:cubicBezTo>
                    <a:pt x="57" y="21"/>
                    <a:pt x="47" y="42"/>
                    <a:pt x="45" y="44"/>
                  </a:cubicBezTo>
                  <a:cubicBezTo>
                    <a:pt x="42" y="46"/>
                    <a:pt x="35" y="43"/>
                    <a:pt x="33" y="44"/>
                  </a:cubicBezTo>
                  <a:cubicBezTo>
                    <a:pt x="31" y="45"/>
                    <a:pt x="31" y="53"/>
                    <a:pt x="31" y="53"/>
                  </a:cubicBezTo>
                  <a:cubicBezTo>
                    <a:pt x="31" y="53"/>
                    <a:pt x="10" y="54"/>
                    <a:pt x="1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" y="49"/>
                    <a:pt x="1" y="46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8" y="38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1" y="20"/>
                    <a:pt x="14" y="15"/>
                    <a:pt x="17" y="13"/>
                  </a:cubicBezTo>
                  <a:cubicBezTo>
                    <a:pt x="22" y="11"/>
                    <a:pt x="24" y="25"/>
                    <a:pt x="27" y="24"/>
                  </a:cubicBez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ṩļiḓe"/>
            <p:cNvSpPr/>
            <p:nvPr/>
          </p:nvSpPr>
          <p:spPr bwMode="auto">
            <a:xfrm>
              <a:off x="4072234" y="3493218"/>
              <a:ext cx="656852" cy="293565"/>
            </a:xfrm>
            <a:custGeom>
              <a:avLst/>
              <a:gdLst>
                <a:gd name="T0" fmla="*/ 145 w 172"/>
                <a:gd name="T1" fmla="*/ 15 h 77"/>
                <a:gd name="T2" fmla="*/ 170 w 172"/>
                <a:gd name="T3" fmla="*/ 10 h 77"/>
                <a:gd name="T4" fmla="*/ 162 w 172"/>
                <a:gd name="T5" fmla="*/ 29 h 77"/>
                <a:gd name="T6" fmla="*/ 135 w 172"/>
                <a:gd name="T7" fmla="*/ 34 h 77"/>
                <a:gd name="T8" fmla="*/ 41 w 172"/>
                <a:gd name="T9" fmla="*/ 76 h 77"/>
                <a:gd name="T10" fmla="*/ 0 w 172"/>
                <a:gd name="T11" fmla="*/ 51 h 77"/>
                <a:gd name="T12" fmla="*/ 17 w 172"/>
                <a:gd name="T13" fmla="*/ 26 h 77"/>
                <a:gd name="T14" fmla="*/ 39 w 172"/>
                <a:gd name="T15" fmla="*/ 41 h 77"/>
                <a:gd name="T16" fmla="*/ 131 w 172"/>
                <a:gd name="T17" fmla="*/ 21 h 77"/>
                <a:gd name="T18" fmla="*/ 136 w 172"/>
                <a:gd name="T19" fmla="*/ 6 h 77"/>
                <a:gd name="T20" fmla="*/ 149 w 172"/>
                <a:gd name="T21" fmla="*/ 2 h 77"/>
                <a:gd name="T22" fmla="*/ 145 w 172"/>
                <a:gd name="T23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2" h="77">
                  <a:moveTo>
                    <a:pt x="145" y="15"/>
                  </a:moveTo>
                  <a:cubicBezTo>
                    <a:pt x="147" y="18"/>
                    <a:pt x="168" y="3"/>
                    <a:pt x="170" y="10"/>
                  </a:cubicBezTo>
                  <a:cubicBezTo>
                    <a:pt x="172" y="17"/>
                    <a:pt x="169" y="26"/>
                    <a:pt x="162" y="29"/>
                  </a:cubicBezTo>
                  <a:cubicBezTo>
                    <a:pt x="154" y="32"/>
                    <a:pt x="139" y="34"/>
                    <a:pt x="135" y="34"/>
                  </a:cubicBezTo>
                  <a:cubicBezTo>
                    <a:pt x="131" y="34"/>
                    <a:pt x="57" y="75"/>
                    <a:pt x="41" y="76"/>
                  </a:cubicBezTo>
                  <a:cubicBezTo>
                    <a:pt x="26" y="77"/>
                    <a:pt x="0" y="51"/>
                    <a:pt x="0" y="51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0" y="42"/>
                    <a:pt x="37" y="40"/>
                    <a:pt x="39" y="41"/>
                  </a:cubicBezTo>
                  <a:cubicBezTo>
                    <a:pt x="44" y="42"/>
                    <a:pt x="131" y="21"/>
                    <a:pt x="131" y="21"/>
                  </a:cubicBezTo>
                  <a:cubicBezTo>
                    <a:pt x="131" y="21"/>
                    <a:pt x="132" y="10"/>
                    <a:pt x="136" y="6"/>
                  </a:cubicBezTo>
                  <a:cubicBezTo>
                    <a:pt x="141" y="2"/>
                    <a:pt x="147" y="0"/>
                    <a:pt x="149" y="2"/>
                  </a:cubicBezTo>
                  <a:cubicBezTo>
                    <a:pt x="150" y="5"/>
                    <a:pt x="142" y="12"/>
                    <a:pt x="145" y="15"/>
                  </a:cubicBez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ṧ1íḍe"/>
            <p:cNvSpPr/>
            <p:nvPr/>
          </p:nvSpPr>
          <p:spPr bwMode="auto">
            <a:xfrm>
              <a:off x="3778668" y="3364784"/>
              <a:ext cx="359618" cy="333931"/>
            </a:xfrm>
            <a:custGeom>
              <a:avLst/>
              <a:gdLst>
                <a:gd name="T0" fmla="*/ 59 w 94"/>
                <a:gd name="T1" fmla="*/ 34 h 88"/>
                <a:gd name="T2" fmla="*/ 54 w 94"/>
                <a:gd name="T3" fmla="*/ 30 h 88"/>
                <a:gd name="T4" fmla="*/ 38 w 94"/>
                <a:gd name="T5" fmla="*/ 19 h 88"/>
                <a:gd name="T6" fmla="*/ 7 w 94"/>
                <a:gd name="T7" fmla="*/ 13 h 88"/>
                <a:gd name="T8" fmla="*/ 22 w 94"/>
                <a:gd name="T9" fmla="*/ 47 h 88"/>
                <a:gd name="T10" fmla="*/ 59 w 94"/>
                <a:gd name="T11" fmla="*/ 76 h 88"/>
                <a:gd name="T12" fmla="*/ 74 w 94"/>
                <a:gd name="T13" fmla="*/ 88 h 88"/>
                <a:gd name="T14" fmla="*/ 77 w 94"/>
                <a:gd name="T15" fmla="*/ 85 h 88"/>
                <a:gd name="T16" fmla="*/ 94 w 94"/>
                <a:gd name="T17" fmla="*/ 60 h 88"/>
                <a:gd name="T18" fmla="*/ 59 w 94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88">
                  <a:moveTo>
                    <a:pt x="59" y="34"/>
                  </a:moveTo>
                  <a:cubicBezTo>
                    <a:pt x="57" y="33"/>
                    <a:pt x="55" y="31"/>
                    <a:pt x="54" y="30"/>
                  </a:cubicBezTo>
                  <a:cubicBezTo>
                    <a:pt x="44" y="23"/>
                    <a:pt x="38" y="19"/>
                    <a:pt x="38" y="19"/>
                  </a:cubicBezTo>
                  <a:cubicBezTo>
                    <a:pt x="38" y="19"/>
                    <a:pt x="14" y="0"/>
                    <a:pt x="7" y="13"/>
                  </a:cubicBezTo>
                  <a:cubicBezTo>
                    <a:pt x="0" y="26"/>
                    <a:pt x="13" y="39"/>
                    <a:pt x="22" y="47"/>
                  </a:cubicBezTo>
                  <a:cubicBezTo>
                    <a:pt x="26" y="51"/>
                    <a:pt x="43" y="64"/>
                    <a:pt x="59" y="76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94" y="60"/>
                    <a:pt x="94" y="60"/>
                    <a:pt x="94" y="60"/>
                  </a:cubicBezTo>
                  <a:cubicBezTo>
                    <a:pt x="78" y="48"/>
                    <a:pt x="73" y="44"/>
                    <a:pt x="59" y="34"/>
                  </a:cubicBezTo>
                  <a:close/>
                </a:path>
              </a:pathLst>
            </a:custGeom>
            <a:solidFill>
              <a:srgbClr val="EDBF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ŝḻide"/>
            <p:cNvSpPr/>
            <p:nvPr/>
          </p:nvSpPr>
          <p:spPr bwMode="auto">
            <a:xfrm>
              <a:off x="7965644" y="4153741"/>
              <a:ext cx="451357" cy="354114"/>
            </a:xfrm>
            <a:custGeom>
              <a:avLst/>
              <a:gdLst>
                <a:gd name="T0" fmla="*/ 106 w 118"/>
                <a:gd name="T1" fmla="*/ 7 h 93"/>
                <a:gd name="T2" fmla="*/ 118 w 118"/>
                <a:gd name="T3" fmla="*/ 0 h 93"/>
                <a:gd name="T4" fmla="*/ 63 w 118"/>
                <a:gd name="T5" fmla="*/ 77 h 93"/>
                <a:gd name="T6" fmla="*/ 29 w 118"/>
                <a:gd name="T7" fmla="*/ 93 h 93"/>
                <a:gd name="T8" fmla="*/ 0 w 118"/>
                <a:gd name="T9" fmla="*/ 81 h 93"/>
                <a:gd name="T10" fmla="*/ 106 w 118"/>
                <a:gd name="T11" fmla="*/ 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93">
                  <a:moveTo>
                    <a:pt x="106" y="7"/>
                  </a:moveTo>
                  <a:cubicBezTo>
                    <a:pt x="118" y="0"/>
                    <a:pt x="118" y="0"/>
                    <a:pt x="118" y="0"/>
                  </a:cubicBezTo>
                  <a:cubicBezTo>
                    <a:pt x="115" y="3"/>
                    <a:pt x="86" y="45"/>
                    <a:pt x="63" y="77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0" y="81"/>
                    <a:pt x="0" y="81"/>
                    <a:pt x="0" y="81"/>
                  </a:cubicBezTo>
                  <a:lnTo>
                    <a:pt x="106" y="7"/>
                  </a:lnTo>
                  <a:close/>
                </a:path>
              </a:pathLst>
            </a:custGeom>
            <a:solidFill>
              <a:srgbClr val="4B5C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ṩ1iďè"/>
            <p:cNvSpPr/>
            <p:nvPr/>
          </p:nvSpPr>
          <p:spPr bwMode="auto">
            <a:xfrm>
              <a:off x="7516123" y="4263828"/>
              <a:ext cx="416496" cy="236688"/>
            </a:xfrm>
            <a:custGeom>
              <a:avLst/>
              <a:gdLst>
                <a:gd name="T0" fmla="*/ 86 w 109"/>
                <a:gd name="T1" fmla="*/ 33 h 62"/>
                <a:gd name="T2" fmla="*/ 106 w 109"/>
                <a:gd name="T3" fmla="*/ 37 h 62"/>
                <a:gd name="T4" fmla="*/ 106 w 109"/>
                <a:gd name="T5" fmla="*/ 38 h 62"/>
                <a:gd name="T6" fmla="*/ 98 w 109"/>
                <a:gd name="T7" fmla="*/ 62 h 62"/>
                <a:gd name="T8" fmla="*/ 34 w 109"/>
                <a:gd name="T9" fmla="*/ 36 h 62"/>
                <a:gd name="T10" fmla="*/ 15 w 109"/>
                <a:gd name="T11" fmla="*/ 31 h 62"/>
                <a:gd name="T12" fmla="*/ 4 w 109"/>
                <a:gd name="T13" fmla="*/ 3 h 62"/>
                <a:gd name="T14" fmla="*/ 29 w 109"/>
                <a:gd name="T15" fmla="*/ 12 h 62"/>
                <a:gd name="T16" fmla="*/ 25 w 109"/>
                <a:gd name="T17" fmla="*/ 3 h 62"/>
                <a:gd name="T18" fmla="*/ 40 w 109"/>
                <a:gd name="T19" fmla="*/ 11 h 62"/>
                <a:gd name="T20" fmla="*/ 41 w 109"/>
                <a:gd name="T21" fmla="*/ 21 h 62"/>
                <a:gd name="T22" fmla="*/ 86 w 109"/>
                <a:gd name="T23" fmla="*/ 3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62">
                  <a:moveTo>
                    <a:pt x="86" y="33"/>
                  </a:moveTo>
                  <a:cubicBezTo>
                    <a:pt x="92" y="35"/>
                    <a:pt x="99" y="36"/>
                    <a:pt x="106" y="37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9" y="48"/>
                    <a:pt x="98" y="62"/>
                  </a:cubicBezTo>
                  <a:cubicBezTo>
                    <a:pt x="63" y="50"/>
                    <a:pt x="37" y="38"/>
                    <a:pt x="34" y="36"/>
                  </a:cubicBezTo>
                  <a:cubicBezTo>
                    <a:pt x="30" y="32"/>
                    <a:pt x="29" y="36"/>
                    <a:pt x="15" y="31"/>
                  </a:cubicBezTo>
                  <a:cubicBezTo>
                    <a:pt x="1" y="25"/>
                    <a:pt x="0" y="5"/>
                    <a:pt x="4" y="3"/>
                  </a:cubicBezTo>
                  <a:cubicBezTo>
                    <a:pt x="8" y="0"/>
                    <a:pt x="29" y="13"/>
                    <a:pt x="29" y="12"/>
                  </a:cubicBezTo>
                  <a:cubicBezTo>
                    <a:pt x="30" y="11"/>
                    <a:pt x="23" y="4"/>
                    <a:pt x="25" y="3"/>
                  </a:cubicBezTo>
                  <a:cubicBezTo>
                    <a:pt x="27" y="2"/>
                    <a:pt x="39" y="10"/>
                    <a:pt x="40" y="11"/>
                  </a:cubicBezTo>
                  <a:cubicBezTo>
                    <a:pt x="42" y="12"/>
                    <a:pt x="41" y="21"/>
                    <a:pt x="41" y="21"/>
                  </a:cubicBezTo>
                  <a:cubicBezTo>
                    <a:pt x="41" y="21"/>
                    <a:pt x="67" y="29"/>
                    <a:pt x="86" y="33"/>
                  </a:cubicBez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śľíďè"/>
            <p:cNvSpPr/>
            <p:nvPr/>
          </p:nvSpPr>
          <p:spPr bwMode="auto">
            <a:xfrm>
              <a:off x="7844549" y="4388593"/>
              <a:ext cx="269714" cy="155957"/>
            </a:xfrm>
            <a:custGeom>
              <a:avLst/>
              <a:gdLst>
                <a:gd name="T0" fmla="*/ 71 w 71"/>
                <a:gd name="T1" fmla="*/ 26 h 41"/>
                <a:gd name="T2" fmla="*/ 35 w 71"/>
                <a:gd name="T3" fmla="*/ 37 h 41"/>
                <a:gd name="T4" fmla="*/ 0 w 71"/>
                <a:gd name="T5" fmla="*/ 25 h 41"/>
                <a:gd name="T6" fmla="*/ 9 w 71"/>
                <a:gd name="T7" fmla="*/ 0 h 41"/>
                <a:gd name="T8" fmla="*/ 69 w 71"/>
                <a:gd name="T9" fmla="*/ 18 h 41"/>
                <a:gd name="T10" fmla="*/ 71 w 71"/>
                <a:gd name="T11" fmla="*/ 2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41">
                  <a:moveTo>
                    <a:pt x="71" y="26"/>
                  </a:moveTo>
                  <a:cubicBezTo>
                    <a:pt x="57" y="34"/>
                    <a:pt x="48" y="41"/>
                    <a:pt x="35" y="37"/>
                  </a:cubicBezTo>
                  <a:cubicBezTo>
                    <a:pt x="4" y="27"/>
                    <a:pt x="0" y="25"/>
                    <a:pt x="0" y="2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9" y="18"/>
                    <a:pt x="69" y="18"/>
                    <a:pt x="69" y="18"/>
                  </a:cubicBezTo>
                  <a:lnTo>
                    <a:pt x="71" y="26"/>
                  </a:lnTo>
                  <a:close/>
                </a:path>
              </a:pathLst>
            </a:custGeom>
            <a:solidFill>
              <a:srgbClr val="4B5C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ṥ1ïḓê"/>
            <p:cNvSpPr/>
            <p:nvPr/>
          </p:nvSpPr>
          <p:spPr bwMode="auto">
            <a:xfrm>
              <a:off x="6914314" y="4359236"/>
              <a:ext cx="1036653" cy="1242149"/>
            </a:xfrm>
            <a:custGeom>
              <a:avLst/>
              <a:gdLst>
                <a:gd name="T0" fmla="*/ 0 w 272"/>
                <a:gd name="T1" fmla="*/ 272 h 326"/>
                <a:gd name="T2" fmla="*/ 212 w 272"/>
                <a:gd name="T3" fmla="*/ 0 h 326"/>
                <a:gd name="T4" fmla="*/ 261 w 272"/>
                <a:gd name="T5" fmla="*/ 13 h 326"/>
                <a:gd name="T6" fmla="*/ 272 w 272"/>
                <a:gd name="T7" fmla="*/ 15 h 326"/>
                <a:gd name="T8" fmla="*/ 28 w 272"/>
                <a:gd name="T9" fmla="*/ 326 h 326"/>
                <a:gd name="T10" fmla="*/ 22 w 272"/>
                <a:gd name="T11" fmla="*/ 315 h 326"/>
                <a:gd name="T12" fmla="*/ 0 w 272"/>
                <a:gd name="T13" fmla="*/ 27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26">
                  <a:moveTo>
                    <a:pt x="0" y="272"/>
                  </a:moveTo>
                  <a:cubicBezTo>
                    <a:pt x="102" y="210"/>
                    <a:pt x="177" y="113"/>
                    <a:pt x="212" y="0"/>
                  </a:cubicBezTo>
                  <a:cubicBezTo>
                    <a:pt x="261" y="13"/>
                    <a:pt x="261" y="13"/>
                    <a:pt x="261" y="13"/>
                  </a:cubicBezTo>
                  <a:cubicBezTo>
                    <a:pt x="272" y="15"/>
                    <a:pt x="272" y="15"/>
                    <a:pt x="272" y="15"/>
                  </a:cubicBezTo>
                  <a:cubicBezTo>
                    <a:pt x="232" y="144"/>
                    <a:pt x="146" y="256"/>
                    <a:pt x="28" y="326"/>
                  </a:cubicBezTo>
                  <a:cubicBezTo>
                    <a:pt x="22" y="315"/>
                    <a:pt x="22" y="315"/>
                    <a:pt x="22" y="315"/>
                  </a:cubicBezTo>
                  <a:lnTo>
                    <a:pt x="0" y="272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ṡ1íḑè"/>
            <p:cNvSpPr/>
            <p:nvPr/>
          </p:nvSpPr>
          <p:spPr bwMode="auto">
            <a:xfrm>
              <a:off x="6178565" y="3973932"/>
              <a:ext cx="1543053" cy="1421958"/>
            </a:xfrm>
            <a:custGeom>
              <a:avLst/>
              <a:gdLst>
                <a:gd name="T0" fmla="*/ 402 w 405"/>
                <a:gd name="T1" fmla="*/ 101 h 373"/>
                <a:gd name="T2" fmla="*/ 405 w 405"/>
                <a:gd name="T3" fmla="*/ 101 h 373"/>
                <a:gd name="T4" fmla="*/ 193 w 405"/>
                <a:gd name="T5" fmla="*/ 373 h 373"/>
                <a:gd name="T6" fmla="*/ 191 w 405"/>
                <a:gd name="T7" fmla="*/ 368 h 373"/>
                <a:gd name="T8" fmla="*/ 0 w 405"/>
                <a:gd name="T9" fmla="*/ 0 h 373"/>
                <a:gd name="T10" fmla="*/ 402 w 405"/>
                <a:gd name="T11" fmla="*/ 101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5" h="373">
                  <a:moveTo>
                    <a:pt x="402" y="101"/>
                  </a:moveTo>
                  <a:cubicBezTo>
                    <a:pt x="405" y="101"/>
                    <a:pt x="405" y="101"/>
                    <a:pt x="405" y="101"/>
                  </a:cubicBezTo>
                  <a:cubicBezTo>
                    <a:pt x="370" y="214"/>
                    <a:pt x="295" y="311"/>
                    <a:pt x="193" y="373"/>
                  </a:cubicBezTo>
                  <a:cubicBezTo>
                    <a:pt x="191" y="368"/>
                    <a:pt x="191" y="368"/>
                    <a:pt x="191" y="36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02" y="101"/>
                  </a:lnTo>
                  <a:close/>
                </a:path>
              </a:pathLst>
            </a:custGeom>
            <a:solidFill>
              <a:srgbClr val="56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îşliḓe"/>
            <p:cNvSpPr/>
            <p:nvPr/>
          </p:nvSpPr>
          <p:spPr bwMode="auto">
            <a:xfrm>
              <a:off x="6822575" y="4964715"/>
              <a:ext cx="216504" cy="251366"/>
            </a:xfrm>
            <a:custGeom>
              <a:avLst/>
              <a:gdLst>
                <a:gd name="T0" fmla="*/ 81 w 118"/>
                <a:gd name="T1" fmla="*/ 137 h 137"/>
                <a:gd name="T2" fmla="*/ 0 w 118"/>
                <a:gd name="T3" fmla="*/ 25 h 137"/>
                <a:gd name="T4" fmla="*/ 35 w 118"/>
                <a:gd name="T5" fmla="*/ 0 h 137"/>
                <a:gd name="T6" fmla="*/ 118 w 118"/>
                <a:gd name="T7" fmla="*/ 112 h 137"/>
                <a:gd name="T8" fmla="*/ 81 w 118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37">
                  <a:moveTo>
                    <a:pt x="81" y="137"/>
                  </a:moveTo>
                  <a:lnTo>
                    <a:pt x="0" y="25"/>
                  </a:lnTo>
                  <a:lnTo>
                    <a:pt x="35" y="0"/>
                  </a:lnTo>
                  <a:lnTo>
                    <a:pt x="118" y="112"/>
                  </a:lnTo>
                  <a:lnTo>
                    <a:pt x="81" y="137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iśľíḓe"/>
            <p:cNvSpPr/>
            <p:nvPr/>
          </p:nvSpPr>
          <p:spPr bwMode="auto">
            <a:xfrm>
              <a:off x="7336314" y="4331714"/>
              <a:ext cx="264209" cy="176139"/>
            </a:xfrm>
            <a:custGeom>
              <a:avLst/>
              <a:gdLst>
                <a:gd name="T0" fmla="*/ 127 w 144"/>
                <a:gd name="T1" fmla="*/ 96 h 96"/>
                <a:gd name="T2" fmla="*/ 0 w 144"/>
                <a:gd name="T3" fmla="*/ 40 h 96"/>
                <a:gd name="T4" fmla="*/ 17 w 144"/>
                <a:gd name="T5" fmla="*/ 0 h 96"/>
                <a:gd name="T6" fmla="*/ 144 w 144"/>
                <a:gd name="T7" fmla="*/ 56 h 96"/>
                <a:gd name="T8" fmla="*/ 127 w 144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96">
                  <a:moveTo>
                    <a:pt x="127" y="96"/>
                  </a:moveTo>
                  <a:lnTo>
                    <a:pt x="0" y="40"/>
                  </a:lnTo>
                  <a:lnTo>
                    <a:pt x="17" y="0"/>
                  </a:lnTo>
                  <a:lnTo>
                    <a:pt x="144" y="56"/>
                  </a:lnTo>
                  <a:lnTo>
                    <a:pt x="127" y="96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ïṥļidè"/>
            <p:cNvSpPr/>
            <p:nvPr/>
          </p:nvSpPr>
          <p:spPr bwMode="auto">
            <a:xfrm>
              <a:off x="6906975" y="4355567"/>
              <a:ext cx="831157" cy="1051332"/>
            </a:xfrm>
            <a:custGeom>
              <a:avLst/>
              <a:gdLst>
                <a:gd name="T0" fmla="*/ 4 w 218"/>
                <a:gd name="T1" fmla="*/ 276 h 276"/>
                <a:gd name="T2" fmla="*/ 0 w 218"/>
                <a:gd name="T3" fmla="*/ 270 h 276"/>
                <a:gd name="T4" fmla="*/ 210 w 218"/>
                <a:gd name="T5" fmla="*/ 0 h 276"/>
                <a:gd name="T6" fmla="*/ 218 w 218"/>
                <a:gd name="T7" fmla="*/ 3 h 276"/>
                <a:gd name="T8" fmla="*/ 4 w 218"/>
                <a:gd name="T9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276">
                  <a:moveTo>
                    <a:pt x="4" y="276"/>
                  </a:moveTo>
                  <a:cubicBezTo>
                    <a:pt x="0" y="270"/>
                    <a:pt x="0" y="270"/>
                    <a:pt x="0" y="270"/>
                  </a:cubicBezTo>
                  <a:cubicBezTo>
                    <a:pt x="100" y="208"/>
                    <a:pt x="175" y="113"/>
                    <a:pt x="210" y="0"/>
                  </a:cubicBezTo>
                  <a:cubicBezTo>
                    <a:pt x="218" y="3"/>
                    <a:pt x="218" y="3"/>
                    <a:pt x="218" y="3"/>
                  </a:cubicBezTo>
                  <a:cubicBezTo>
                    <a:pt x="182" y="117"/>
                    <a:pt x="106" y="214"/>
                    <a:pt x="4" y="276"/>
                  </a:cubicBezTo>
                  <a:close/>
                </a:path>
              </a:pathLst>
            </a:custGeom>
            <a:solidFill>
              <a:srgbClr val="4444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Sḻîḋê"/>
            <p:cNvSpPr/>
            <p:nvPr/>
          </p:nvSpPr>
          <p:spPr bwMode="auto">
            <a:xfrm>
              <a:off x="8969271" y="5485793"/>
              <a:ext cx="60548" cy="225679"/>
            </a:xfrm>
            <a:custGeom>
              <a:avLst/>
              <a:gdLst>
                <a:gd name="T0" fmla="*/ 10 w 16"/>
                <a:gd name="T1" fmla="*/ 0 h 59"/>
                <a:gd name="T2" fmla="*/ 6 w 16"/>
                <a:gd name="T3" fmla="*/ 59 h 59"/>
                <a:gd name="T4" fmla="*/ 0 w 16"/>
                <a:gd name="T5" fmla="*/ 54 h 59"/>
                <a:gd name="T6" fmla="*/ 1 w 16"/>
                <a:gd name="T7" fmla="*/ 54 h 59"/>
                <a:gd name="T8" fmla="*/ 2 w 16"/>
                <a:gd name="T9" fmla="*/ 1 h 59"/>
                <a:gd name="T10" fmla="*/ 2 w 16"/>
                <a:gd name="T11" fmla="*/ 1 h 59"/>
                <a:gd name="T12" fmla="*/ 10 w 16"/>
                <a:gd name="T1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59">
                  <a:moveTo>
                    <a:pt x="10" y="0"/>
                  </a:moveTo>
                  <a:cubicBezTo>
                    <a:pt x="10" y="0"/>
                    <a:pt x="16" y="58"/>
                    <a:pt x="6" y="59"/>
                  </a:cubicBezTo>
                  <a:cubicBezTo>
                    <a:pt x="4" y="59"/>
                    <a:pt x="2" y="57"/>
                    <a:pt x="0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6" y="33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7" y="0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F8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iṡḻidê"/>
            <p:cNvSpPr/>
            <p:nvPr/>
          </p:nvSpPr>
          <p:spPr bwMode="auto">
            <a:xfrm>
              <a:off x="7932618" y="4172088"/>
              <a:ext cx="728410" cy="724740"/>
            </a:xfrm>
            <a:custGeom>
              <a:avLst/>
              <a:gdLst>
                <a:gd name="T0" fmla="*/ 122 w 191"/>
                <a:gd name="T1" fmla="*/ 0 h 190"/>
                <a:gd name="T2" fmla="*/ 125 w 191"/>
                <a:gd name="T3" fmla="*/ 12 h 190"/>
                <a:gd name="T4" fmla="*/ 143 w 191"/>
                <a:gd name="T5" fmla="*/ 20 h 190"/>
                <a:gd name="T6" fmla="*/ 151 w 191"/>
                <a:gd name="T7" fmla="*/ 43 h 190"/>
                <a:gd name="T8" fmla="*/ 156 w 191"/>
                <a:gd name="T9" fmla="*/ 44 h 190"/>
                <a:gd name="T10" fmla="*/ 189 w 191"/>
                <a:gd name="T11" fmla="*/ 188 h 190"/>
                <a:gd name="T12" fmla="*/ 184 w 191"/>
                <a:gd name="T13" fmla="*/ 189 h 190"/>
                <a:gd name="T14" fmla="*/ 110 w 191"/>
                <a:gd name="T15" fmla="*/ 183 h 190"/>
                <a:gd name="T16" fmla="*/ 105 w 191"/>
                <a:gd name="T17" fmla="*/ 182 h 190"/>
                <a:gd name="T18" fmla="*/ 103 w 191"/>
                <a:gd name="T19" fmla="*/ 180 h 190"/>
                <a:gd name="T20" fmla="*/ 109 w 191"/>
                <a:gd name="T21" fmla="*/ 105 h 190"/>
                <a:gd name="T22" fmla="*/ 94 w 191"/>
                <a:gd name="T23" fmla="*/ 86 h 190"/>
                <a:gd name="T24" fmla="*/ 39 w 191"/>
                <a:gd name="T25" fmla="*/ 144 h 190"/>
                <a:gd name="T26" fmla="*/ 0 w 191"/>
                <a:gd name="T27" fmla="*/ 134 h 190"/>
                <a:gd name="T28" fmla="*/ 7 w 191"/>
                <a:gd name="T29" fmla="*/ 109 h 190"/>
                <a:gd name="T30" fmla="*/ 7 w 191"/>
                <a:gd name="T31" fmla="*/ 109 h 190"/>
                <a:gd name="T32" fmla="*/ 33 w 191"/>
                <a:gd name="T33" fmla="*/ 111 h 190"/>
                <a:gd name="T34" fmla="*/ 49 w 191"/>
                <a:gd name="T35" fmla="*/ 88 h 190"/>
                <a:gd name="T36" fmla="*/ 104 w 191"/>
                <a:gd name="T37" fmla="*/ 11 h 190"/>
                <a:gd name="T38" fmla="*/ 108 w 191"/>
                <a:gd name="T39" fmla="*/ 8 h 190"/>
                <a:gd name="T40" fmla="*/ 122 w 191"/>
                <a:gd name="T41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1" h="190">
                  <a:moveTo>
                    <a:pt x="122" y="0"/>
                  </a:moveTo>
                  <a:cubicBezTo>
                    <a:pt x="123" y="4"/>
                    <a:pt x="123" y="8"/>
                    <a:pt x="125" y="12"/>
                  </a:cubicBezTo>
                  <a:cubicBezTo>
                    <a:pt x="129" y="18"/>
                    <a:pt x="140" y="13"/>
                    <a:pt x="143" y="20"/>
                  </a:cubicBezTo>
                  <a:cubicBezTo>
                    <a:pt x="145" y="27"/>
                    <a:pt x="140" y="37"/>
                    <a:pt x="151" y="43"/>
                  </a:cubicBezTo>
                  <a:cubicBezTo>
                    <a:pt x="153" y="44"/>
                    <a:pt x="154" y="44"/>
                    <a:pt x="156" y="44"/>
                  </a:cubicBezTo>
                  <a:cubicBezTo>
                    <a:pt x="182" y="89"/>
                    <a:pt x="191" y="183"/>
                    <a:pt x="189" y="188"/>
                  </a:cubicBezTo>
                  <a:cubicBezTo>
                    <a:pt x="188" y="188"/>
                    <a:pt x="187" y="189"/>
                    <a:pt x="184" y="189"/>
                  </a:cubicBezTo>
                  <a:cubicBezTo>
                    <a:pt x="170" y="190"/>
                    <a:pt x="127" y="188"/>
                    <a:pt x="110" y="183"/>
                  </a:cubicBezTo>
                  <a:cubicBezTo>
                    <a:pt x="108" y="183"/>
                    <a:pt x="106" y="182"/>
                    <a:pt x="105" y="182"/>
                  </a:cubicBezTo>
                  <a:cubicBezTo>
                    <a:pt x="104" y="181"/>
                    <a:pt x="103" y="181"/>
                    <a:pt x="103" y="180"/>
                  </a:cubicBezTo>
                  <a:cubicBezTo>
                    <a:pt x="99" y="174"/>
                    <a:pt x="117" y="155"/>
                    <a:pt x="109" y="105"/>
                  </a:cubicBezTo>
                  <a:cubicBezTo>
                    <a:pt x="108" y="100"/>
                    <a:pt x="94" y="86"/>
                    <a:pt x="94" y="86"/>
                  </a:cubicBezTo>
                  <a:cubicBezTo>
                    <a:pt x="71" y="115"/>
                    <a:pt x="51" y="141"/>
                    <a:pt x="39" y="144"/>
                  </a:cubicBezTo>
                  <a:cubicBezTo>
                    <a:pt x="31" y="145"/>
                    <a:pt x="22" y="142"/>
                    <a:pt x="0" y="134"/>
                  </a:cubicBezTo>
                  <a:cubicBezTo>
                    <a:pt x="11" y="120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24" y="111"/>
                    <a:pt x="30" y="111"/>
                    <a:pt x="33" y="111"/>
                  </a:cubicBezTo>
                  <a:cubicBezTo>
                    <a:pt x="35" y="110"/>
                    <a:pt x="34" y="109"/>
                    <a:pt x="49" y="88"/>
                  </a:cubicBezTo>
                  <a:cubicBezTo>
                    <a:pt x="73" y="56"/>
                    <a:pt x="102" y="14"/>
                    <a:pt x="104" y="11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122" y="0"/>
                    <a:pt x="122" y="0"/>
                    <a:pt x="122" y="0"/>
                  </a:cubicBezTo>
                  <a:close/>
                </a:path>
              </a:pathLst>
            </a:custGeom>
            <a:solidFill>
              <a:srgbClr val="606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ṧḻïḑê"/>
            <p:cNvSpPr/>
            <p:nvPr/>
          </p:nvSpPr>
          <p:spPr bwMode="auto">
            <a:xfrm>
              <a:off x="7840879" y="4865637"/>
              <a:ext cx="510070" cy="456862"/>
            </a:xfrm>
            <a:custGeom>
              <a:avLst/>
              <a:gdLst>
                <a:gd name="T0" fmla="*/ 134 w 134"/>
                <a:gd name="T1" fmla="*/ 2 h 120"/>
                <a:gd name="T2" fmla="*/ 119 w 134"/>
                <a:gd name="T3" fmla="*/ 49 h 120"/>
                <a:gd name="T4" fmla="*/ 118 w 134"/>
                <a:gd name="T5" fmla="*/ 49 h 120"/>
                <a:gd name="T6" fmla="*/ 48 w 134"/>
                <a:gd name="T7" fmla="*/ 65 h 120"/>
                <a:gd name="T8" fmla="*/ 66 w 134"/>
                <a:gd name="T9" fmla="*/ 103 h 120"/>
                <a:gd name="T10" fmla="*/ 32 w 134"/>
                <a:gd name="T11" fmla="*/ 120 h 120"/>
                <a:gd name="T12" fmla="*/ 31 w 134"/>
                <a:gd name="T13" fmla="*/ 120 h 120"/>
                <a:gd name="T14" fmla="*/ 4 w 134"/>
                <a:gd name="T15" fmla="*/ 51 h 120"/>
                <a:gd name="T16" fmla="*/ 129 w 134"/>
                <a:gd name="T17" fmla="*/ 0 h 120"/>
                <a:gd name="T18" fmla="*/ 134 w 134"/>
                <a:gd name="T19" fmla="*/ 1 h 120"/>
                <a:gd name="T20" fmla="*/ 134 w 134"/>
                <a:gd name="T21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120">
                  <a:moveTo>
                    <a:pt x="134" y="2"/>
                  </a:moveTo>
                  <a:cubicBezTo>
                    <a:pt x="134" y="2"/>
                    <a:pt x="127" y="22"/>
                    <a:pt x="119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49" y="62"/>
                    <a:pt x="48" y="65"/>
                  </a:cubicBezTo>
                  <a:cubicBezTo>
                    <a:pt x="48" y="66"/>
                    <a:pt x="56" y="81"/>
                    <a:pt x="66" y="103"/>
                  </a:cubicBezTo>
                  <a:cubicBezTo>
                    <a:pt x="61" y="105"/>
                    <a:pt x="46" y="113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14" y="92"/>
                    <a:pt x="0" y="64"/>
                    <a:pt x="4" y="51"/>
                  </a:cubicBezTo>
                  <a:cubicBezTo>
                    <a:pt x="12" y="26"/>
                    <a:pt x="119" y="2"/>
                    <a:pt x="129" y="0"/>
                  </a:cubicBezTo>
                  <a:cubicBezTo>
                    <a:pt x="130" y="0"/>
                    <a:pt x="132" y="1"/>
                    <a:pt x="134" y="1"/>
                  </a:cubicBezTo>
                  <a:lnTo>
                    <a:pt x="134" y="2"/>
                  </a:lnTo>
                  <a:close/>
                </a:path>
              </a:pathLst>
            </a:custGeom>
            <a:solidFill>
              <a:srgbClr val="11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išļidé"/>
            <p:cNvSpPr/>
            <p:nvPr/>
          </p:nvSpPr>
          <p:spPr bwMode="auto">
            <a:xfrm>
              <a:off x="8152792" y="4869306"/>
              <a:ext cx="480713" cy="856844"/>
            </a:xfrm>
            <a:custGeom>
              <a:avLst/>
              <a:gdLst>
                <a:gd name="T0" fmla="*/ 126 w 126"/>
                <a:gd name="T1" fmla="*/ 6 h 225"/>
                <a:gd name="T2" fmla="*/ 107 w 126"/>
                <a:gd name="T3" fmla="*/ 63 h 225"/>
                <a:gd name="T4" fmla="*/ 44 w 126"/>
                <a:gd name="T5" fmla="*/ 175 h 225"/>
                <a:gd name="T6" fmla="*/ 112 w 126"/>
                <a:gd name="T7" fmla="*/ 171 h 225"/>
                <a:gd name="T8" fmla="*/ 114 w 126"/>
                <a:gd name="T9" fmla="*/ 204 h 225"/>
                <a:gd name="T10" fmla="*/ 90 w 126"/>
                <a:gd name="T11" fmla="*/ 209 h 225"/>
                <a:gd name="T12" fmla="*/ 5 w 126"/>
                <a:gd name="T13" fmla="*/ 210 h 225"/>
                <a:gd name="T14" fmla="*/ 2 w 126"/>
                <a:gd name="T15" fmla="*/ 206 h 225"/>
                <a:gd name="T16" fmla="*/ 0 w 126"/>
                <a:gd name="T17" fmla="*/ 198 h 225"/>
                <a:gd name="T18" fmla="*/ 1 w 126"/>
                <a:gd name="T19" fmla="*/ 198 h 225"/>
                <a:gd name="T20" fmla="*/ 0 w 126"/>
                <a:gd name="T21" fmla="*/ 198 h 225"/>
                <a:gd name="T22" fmla="*/ 6 w 126"/>
                <a:gd name="T23" fmla="*/ 161 h 225"/>
                <a:gd name="T24" fmla="*/ 37 w 126"/>
                <a:gd name="T25" fmla="*/ 48 h 225"/>
                <a:gd name="T26" fmla="*/ 52 w 126"/>
                <a:gd name="T27" fmla="*/ 1 h 225"/>
                <a:gd name="T28" fmla="*/ 52 w 126"/>
                <a:gd name="T29" fmla="*/ 0 h 225"/>
                <a:gd name="T30" fmla="*/ 126 w 126"/>
                <a:gd name="T31" fmla="*/ 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6" h="225">
                  <a:moveTo>
                    <a:pt x="126" y="6"/>
                  </a:moveTo>
                  <a:cubicBezTo>
                    <a:pt x="125" y="34"/>
                    <a:pt x="114" y="49"/>
                    <a:pt x="107" y="63"/>
                  </a:cubicBezTo>
                  <a:cubicBezTo>
                    <a:pt x="100" y="78"/>
                    <a:pt x="42" y="171"/>
                    <a:pt x="44" y="175"/>
                  </a:cubicBezTo>
                  <a:cubicBezTo>
                    <a:pt x="45" y="176"/>
                    <a:pt x="76" y="174"/>
                    <a:pt x="112" y="171"/>
                  </a:cubicBezTo>
                  <a:cubicBezTo>
                    <a:pt x="113" y="175"/>
                    <a:pt x="115" y="189"/>
                    <a:pt x="114" y="204"/>
                  </a:cubicBezTo>
                  <a:cubicBezTo>
                    <a:pt x="103" y="207"/>
                    <a:pt x="94" y="209"/>
                    <a:pt x="90" y="209"/>
                  </a:cubicBezTo>
                  <a:cubicBezTo>
                    <a:pt x="78" y="210"/>
                    <a:pt x="22" y="225"/>
                    <a:pt x="5" y="210"/>
                  </a:cubicBezTo>
                  <a:cubicBezTo>
                    <a:pt x="3" y="209"/>
                    <a:pt x="2" y="208"/>
                    <a:pt x="2" y="206"/>
                  </a:cubicBezTo>
                  <a:cubicBezTo>
                    <a:pt x="1" y="204"/>
                    <a:pt x="0" y="202"/>
                    <a:pt x="0" y="198"/>
                  </a:cubicBezTo>
                  <a:cubicBezTo>
                    <a:pt x="0" y="198"/>
                    <a:pt x="1" y="198"/>
                    <a:pt x="1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89"/>
                    <a:pt x="2" y="176"/>
                    <a:pt x="6" y="161"/>
                  </a:cubicBezTo>
                  <a:cubicBezTo>
                    <a:pt x="13" y="127"/>
                    <a:pt x="26" y="82"/>
                    <a:pt x="37" y="48"/>
                  </a:cubicBezTo>
                  <a:cubicBezTo>
                    <a:pt x="45" y="21"/>
                    <a:pt x="52" y="1"/>
                    <a:pt x="52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9" y="5"/>
                    <a:pt x="112" y="7"/>
                    <a:pt x="126" y="6"/>
                  </a:cubicBezTo>
                  <a:close/>
                </a:path>
              </a:pathLst>
            </a:custGeom>
            <a:solidFill>
              <a:srgbClr val="11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ṧḷïďè"/>
            <p:cNvSpPr/>
            <p:nvPr/>
          </p:nvSpPr>
          <p:spPr bwMode="auto">
            <a:xfrm>
              <a:off x="8039036" y="5634410"/>
              <a:ext cx="7339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ŝlïḑè"/>
            <p:cNvSpPr/>
            <p:nvPr/>
          </p:nvSpPr>
          <p:spPr bwMode="auto">
            <a:xfrm>
              <a:off x="8018854" y="5623402"/>
              <a:ext cx="154122" cy="60548"/>
            </a:xfrm>
            <a:custGeom>
              <a:avLst/>
              <a:gdLst>
                <a:gd name="T0" fmla="*/ 37 w 40"/>
                <a:gd name="T1" fmla="*/ 8 h 16"/>
                <a:gd name="T2" fmla="*/ 40 w 40"/>
                <a:gd name="T3" fmla="*/ 12 h 16"/>
                <a:gd name="T4" fmla="*/ 39 w 40"/>
                <a:gd name="T5" fmla="*/ 13 h 16"/>
                <a:gd name="T6" fmla="*/ 0 w 40"/>
                <a:gd name="T7" fmla="*/ 11 h 16"/>
                <a:gd name="T8" fmla="*/ 7 w 40"/>
                <a:gd name="T9" fmla="*/ 3 h 16"/>
                <a:gd name="T10" fmla="*/ 35 w 40"/>
                <a:gd name="T11" fmla="*/ 0 h 16"/>
                <a:gd name="T12" fmla="*/ 37 w 40"/>
                <a:gd name="T1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6">
                  <a:moveTo>
                    <a:pt x="37" y="8"/>
                  </a:moveTo>
                  <a:cubicBezTo>
                    <a:pt x="37" y="10"/>
                    <a:pt x="38" y="11"/>
                    <a:pt x="40" y="12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0" y="16"/>
                    <a:pt x="0" y="11"/>
                  </a:cubicBezTo>
                  <a:cubicBezTo>
                    <a:pt x="0" y="9"/>
                    <a:pt x="3" y="6"/>
                    <a:pt x="7" y="3"/>
                  </a:cubicBezTo>
                  <a:cubicBezTo>
                    <a:pt x="11" y="4"/>
                    <a:pt x="26" y="5"/>
                    <a:pt x="35" y="0"/>
                  </a:cubicBezTo>
                  <a:cubicBezTo>
                    <a:pt x="35" y="4"/>
                    <a:pt x="36" y="6"/>
                    <a:pt x="37" y="8"/>
                  </a:cubicBezTo>
                  <a:close/>
                </a:path>
              </a:pathLst>
            </a:custGeom>
            <a:solidFill>
              <a:srgbClr val="FF8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şḷîďè"/>
            <p:cNvSpPr/>
            <p:nvPr/>
          </p:nvSpPr>
          <p:spPr bwMode="auto">
            <a:xfrm>
              <a:off x="8152792" y="5623402"/>
              <a:ext cx="3670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íslîḑe"/>
            <p:cNvSpPr/>
            <p:nvPr/>
          </p:nvSpPr>
          <p:spPr bwMode="auto">
            <a:xfrm>
              <a:off x="8046375" y="5623402"/>
              <a:ext cx="106417" cy="20183"/>
            </a:xfrm>
            <a:custGeom>
              <a:avLst/>
              <a:gdLst>
                <a:gd name="T0" fmla="*/ 28 w 28"/>
                <a:gd name="T1" fmla="*/ 0 h 5"/>
                <a:gd name="T2" fmla="*/ 28 w 28"/>
                <a:gd name="T3" fmla="*/ 0 h 5"/>
                <a:gd name="T4" fmla="*/ 0 w 28"/>
                <a:gd name="T5" fmla="*/ 3 h 5"/>
                <a:gd name="T6" fmla="*/ 0 w 28"/>
                <a:gd name="T7" fmla="*/ 3 h 5"/>
                <a:gd name="T8" fmla="*/ 28 w 28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5"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9" y="5"/>
                    <a:pt x="4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ş1îde"/>
            <p:cNvSpPr/>
            <p:nvPr/>
          </p:nvSpPr>
          <p:spPr bwMode="auto">
            <a:xfrm>
              <a:off x="7958305" y="5258280"/>
              <a:ext cx="218340" cy="376131"/>
            </a:xfrm>
            <a:custGeom>
              <a:avLst/>
              <a:gdLst>
                <a:gd name="T0" fmla="*/ 57 w 57"/>
                <a:gd name="T1" fmla="*/ 59 h 99"/>
                <a:gd name="T2" fmla="*/ 51 w 57"/>
                <a:gd name="T3" fmla="*/ 96 h 99"/>
                <a:gd name="T4" fmla="*/ 23 w 57"/>
                <a:gd name="T5" fmla="*/ 99 h 99"/>
                <a:gd name="T6" fmla="*/ 44 w 57"/>
                <a:gd name="T7" fmla="*/ 84 h 99"/>
                <a:gd name="T8" fmla="*/ 0 w 57"/>
                <a:gd name="T9" fmla="*/ 17 h 99"/>
                <a:gd name="T10" fmla="*/ 1 w 57"/>
                <a:gd name="T11" fmla="*/ 17 h 99"/>
                <a:gd name="T12" fmla="*/ 35 w 57"/>
                <a:gd name="T13" fmla="*/ 0 h 99"/>
                <a:gd name="T14" fmla="*/ 57 w 57"/>
                <a:gd name="T15" fmla="*/ 5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99">
                  <a:moveTo>
                    <a:pt x="57" y="59"/>
                  </a:moveTo>
                  <a:cubicBezTo>
                    <a:pt x="53" y="74"/>
                    <a:pt x="51" y="87"/>
                    <a:pt x="51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31" y="92"/>
                    <a:pt x="44" y="84"/>
                    <a:pt x="44" y="84"/>
                  </a:cubicBezTo>
                  <a:cubicBezTo>
                    <a:pt x="44" y="84"/>
                    <a:pt x="20" y="51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5" y="10"/>
                    <a:pt x="30" y="2"/>
                    <a:pt x="35" y="0"/>
                  </a:cubicBezTo>
                  <a:cubicBezTo>
                    <a:pt x="42" y="16"/>
                    <a:pt x="51" y="37"/>
                    <a:pt x="57" y="59"/>
                  </a:cubicBez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ṣḻíḓè"/>
            <p:cNvSpPr/>
            <p:nvPr/>
          </p:nvSpPr>
          <p:spPr bwMode="auto">
            <a:xfrm>
              <a:off x="8580297" y="5491297"/>
              <a:ext cx="410991" cy="201826"/>
            </a:xfrm>
            <a:custGeom>
              <a:avLst/>
              <a:gdLst>
                <a:gd name="T0" fmla="*/ 102 w 108"/>
                <a:gd name="T1" fmla="*/ 53 h 53"/>
                <a:gd name="T2" fmla="*/ 92 w 108"/>
                <a:gd name="T3" fmla="*/ 19 h 53"/>
                <a:gd name="T4" fmla="*/ 2 w 108"/>
                <a:gd name="T5" fmla="*/ 41 h 53"/>
                <a:gd name="T6" fmla="*/ 0 w 108"/>
                <a:gd name="T7" fmla="*/ 8 h 53"/>
                <a:gd name="T8" fmla="*/ 104 w 108"/>
                <a:gd name="T9" fmla="*/ 0 h 53"/>
                <a:gd name="T10" fmla="*/ 104 w 108"/>
                <a:gd name="T11" fmla="*/ 0 h 53"/>
                <a:gd name="T12" fmla="*/ 103 w 108"/>
                <a:gd name="T13" fmla="*/ 53 h 53"/>
                <a:gd name="T14" fmla="*/ 102 w 108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53">
                  <a:moveTo>
                    <a:pt x="102" y="53"/>
                  </a:moveTo>
                  <a:cubicBezTo>
                    <a:pt x="96" y="43"/>
                    <a:pt x="92" y="20"/>
                    <a:pt x="92" y="19"/>
                  </a:cubicBezTo>
                  <a:cubicBezTo>
                    <a:pt x="91" y="18"/>
                    <a:pt x="36" y="33"/>
                    <a:pt x="2" y="41"/>
                  </a:cubicBezTo>
                  <a:cubicBezTo>
                    <a:pt x="3" y="26"/>
                    <a:pt x="1" y="12"/>
                    <a:pt x="0" y="8"/>
                  </a:cubicBezTo>
                  <a:cubicBezTo>
                    <a:pt x="39" y="5"/>
                    <a:pt x="85" y="1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8" y="32"/>
                    <a:pt x="103" y="53"/>
                  </a:cubicBezTo>
                  <a:lnTo>
                    <a:pt x="102" y="53"/>
                  </a:ln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$ľîďè"/>
            <p:cNvSpPr/>
            <p:nvPr/>
          </p:nvSpPr>
          <p:spPr bwMode="auto">
            <a:xfrm>
              <a:off x="7554653" y="4445471"/>
              <a:ext cx="418331" cy="236688"/>
            </a:xfrm>
            <a:custGeom>
              <a:avLst/>
              <a:gdLst>
                <a:gd name="T0" fmla="*/ 86 w 110"/>
                <a:gd name="T1" fmla="*/ 33 h 62"/>
                <a:gd name="T2" fmla="*/ 106 w 110"/>
                <a:gd name="T3" fmla="*/ 37 h 62"/>
                <a:gd name="T4" fmla="*/ 106 w 110"/>
                <a:gd name="T5" fmla="*/ 37 h 62"/>
                <a:gd name="T6" fmla="*/ 99 w 110"/>
                <a:gd name="T7" fmla="*/ 62 h 62"/>
                <a:gd name="T8" fmla="*/ 34 w 110"/>
                <a:gd name="T9" fmla="*/ 35 h 62"/>
                <a:gd name="T10" fmla="*/ 15 w 110"/>
                <a:gd name="T11" fmla="*/ 30 h 62"/>
                <a:gd name="T12" fmla="*/ 4 w 110"/>
                <a:gd name="T13" fmla="*/ 2 h 62"/>
                <a:gd name="T14" fmla="*/ 30 w 110"/>
                <a:gd name="T15" fmla="*/ 12 h 62"/>
                <a:gd name="T16" fmla="*/ 25 w 110"/>
                <a:gd name="T17" fmla="*/ 3 h 62"/>
                <a:gd name="T18" fmla="*/ 41 w 110"/>
                <a:gd name="T19" fmla="*/ 11 h 62"/>
                <a:gd name="T20" fmla="*/ 41 w 110"/>
                <a:gd name="T21" fmla="*/ 21 h 62"/>
                <a:gd name="T22" fmla="*/ 86 w 110"/>
                <a:gd name="T23" fmla="*/ 3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0" h="62">
                  <a:moveTo>
                    <a:pt x="86" y="33"/>
                  </a:moveTo>
                  <a:cubicBezTo>
                    <a:pt x="92" y="34"/>
                    <a:pt x="99" y="35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10" y="48"/>
                    <a:pt x="99" y="62"/>
                  </a:cubicBezTo>
                  <a:cubicBezTo>
                    <a:pt x="63" y="49"/>
                    <a:pt x="37" y="38"/>
                    <a:pt x="34" y="35"/>
                  </a:cubicBezTo>
                  <a:cubicBezTo>
                    <a:pt x="30" y="32"/>
                    <a:pt x="29" y="36"/>
                    <a:pt x="15" y="30"/>
                  </a:cubicBezTo>
                  <a:cubicBezTo>
                    <a:pt x="1" y="25"/>
                    <a:pt x="0" y="5"/>
                    <a:pt x="4" y="2"/>
                  </a:cubicBezTo>
                  <a:cubicBezTo>
                    <a:pt x="8" y="0"/>
                    <a:pt x="29" y="13"/>
                    <a:pt x="30" y="12"/>
                  </a:cubicBezTo>
                  <a:cubicBezTo>
                    <a:pt x="30" y="11"/>
                    <a:pt x="23" y="4"/>
                    <a:pt x="25" y="3"/>
                  </a:cubicBezTo>
                  <a:cubicBezTo>
                    <a:pt x="27" y="1"/>
                    <a:pt x="39" y="10"/>
                    <a:pt x="41" y="11"/>
                  </a:cubicBezTo>
                  <a:cubicBezTo>
                    <a:pt x="42" y="12"/>
                    <a:pt x="41" y="21"/>
                    <a:pt x="41" y="21"/>
                  </a:cubicBezTo>
                  <a:cubicBezTo>
                    <a:pt x="41" y="21"/>
                    <a:pt x="67" y="29"/>
                    <a:pt x="86" y="33"/>
                  </a:cubicBez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îSlíḑé"/>
            <p:cNvSpPr/>
            <p:nvPr/>
          </p:nvSpPr>
          <p:spPr bwMode="auto">
            <a:xfrm>
              <a:off x="8172975" y="4038149"/>
              <a:ext cx="223844" cy="165131"/>
            </a:xfrm>
            <a:custGeom>
              <a:avLst/>
              <a:gdLst>
                <a:gd name="T0" fmla="*/ 59 w 59"/>
                <a:gd name="T1" fmla="*/ 35 h 43"/>
                <a:gd name="T2" fmla="*/ 45 w 59"/>
                <a:gd name="T3" fmla="*/ 43 h 43"/>
                <a:gd name="T4" fmla="*/ 36 w 59"/>
                <a:gd name="T5" fmla="*/ 25 h 43"/>
                <a:gd name="T6" fmla="*/ 24 w 59"/>
                <a:gd name="T7" fmla="*/ 31 h 43"/>
                <a:gd name="T8" fmla="*/ 2 w 59"/>
                <a:gd name="T9" fmla="*/ 2 h 43"/>
                <a:gd name="T10" fmla="*/ 18 w 59"/>
                <a:gd name="T11" fmla="*/ 6 h 43"/>
                <a:gd name="T12" fmla="*/ 33 w 59"/>
                <a:gd name="T13" fmla="*/ 4 h 43"/>
                <a:gd name="T14" fmla="*/ 43 w 59"/>
                <a:gd name="T15" fmla="*/ 23 h 43"/>
                <a:gd name="T16" fmla="*/ 57 w 59"/>
                <a:gd name="T17" fmla="*/ 29 h 43"/>
                <a:gd name="T18" fmla="*/ 59 w 59"/>
                <a:gd name="T1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43">
                  <a:moveTo>
                    <a:pt x="59" y="35"/>
                  </a:move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37" y="25"/>
                    <a:pt x="36" y="25"/>
                  </a:cubicBezTo>
                  <a:cubicBezTo>
                    <a:pt x="34" y="25"/>
                    <a:pt x="29" y="33"/>
                    <a:pt x="24" y="31"/>
                  </a:cubicBezTo>
                  <a:cubicBezTo>
                    <a:pt x="18" y="30"/>
                    <a:pt x="0" y="9"/>
                    <a:pt x="2" y="2"/>
                  </a:cubicBezTo>
                  <a:cubicBezTo>
                    <a:pt x="2" y="2"/>
                    <a:pt x="11" y="6"/>
                    <a:pt x="18" y="6"/>
                  </a:cubicBezTo>
                  <a:cubicBezTo>
                    <a:pt x="24" y="5"/>
                    <a:pt x="29" y="0"/>
                    <a:pt x="33" y="4"/>
                  </a:cubicBezTo>
                  <a:cubicBezTo>
                    <a:pt x="37" y="8"/>
                    <a:pt x="38" y="20"/>
                    <a:pt x="43" y="23"/>
                  </a:cubicBezTo>
                  <a:cubicBezTo>
                    <a:pt x="48" y="27"/>
                    <a:pt x="54" y="23"/>
                    <a:pt x="57" y="29"/>
                  </a:cubicBezTo>
                  <a:cubicBezTo>
                    <a:pt x="58" y="31"/>
                    <a:pt x="59" y="33"/>
                    <a:pt x="59" y="35"/>
                  </a:cubicBezTo>
                  <a:close/>
                </a:path>
              </a:pathLst>
            </a:custGeom>
            <a:solidFill>
              <a:srgbClr val="EED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iṥḻíďe"/>
            <p:cNvSpPr/>
            <p:nvPr/>
          </p:nvSpPr>
          <p:spPr bwMode="auto">
            <a:xfrm>
              <a:off x="8110593" y="3847331"/>
              <a:ext cx="546765" cy="504566"/>
            </a:xfrm>
            <a:custGeom>
              <a:avLst/>
              <a:gdLst>
                <a:gd name="T0" fmla="*/ 109 w 143"/>
                <a:gd name="T1" fmla="*/ 129 h 132"/>
                <a:gd name="T2" fmla="*/ 104 w 143"/>
                <a:gd name="T3" fmla="*/ 128 h 132"/>
                <a:gd name="T4" fmla="*/ 96 w 143"/>
                <a:gd name="T5" fmla="*/ 105 h 132"/>
                <a:gd name="T6" fmla="*/ 78 w 143"/>
                <a:gd name="T7" fmla="*/ 97 h 132"/>
                <a:gd name="T8" fmla="*/ 75 w 143"/>
                <a:gd name="T9" fmla="*/ 85 h 132"/>
                <a:gd name="T10" fmla="*/ 73 w 143"/>
                <a:gd name="T11" fmla="*/ 79 h 132"/>
                <a:gd name="T12" fmla="*/ 59 w 143"/>
                <a:gd name="T13" fmla="*/ 73 h 132"/>
                <a:gd name="T14" fmla="*/ 49 w 143"/>
                <a:gd name="T15" fmla="*/ 54 h 132"/>
                <a:gd name="T16" fmla="*/ 34 w 143"/>
                <a:gd name="T17" fmla="*/ 56 h 132"/>
                <a:gd name="T18" fmla="*/ 18 w 143"/>
                <a:gd name="T19" fmla="*/ 52 h 132"/>
                <a:gd name="T20" fmla="*/ 40 w 143"/>
                <a:gd name="T21" fmla="*/ 81 h 132"/>
                <a:gd name="T22" fmla="*/ 52 w 143"/>
                <a:gd name="T23" fmla="*/ 75 h 132"/>
                <a:gd name="T24" fmla="*/ 61 w 143"/>
                <a:gd name="T25" fmla="*/ 93 h 132"/>
                <a:gd name="T26" fmla="*/ 57 w 143"/>
                <a:gd name="T27" fmla="*/ 96 h 132"/>
                <a:gd name="T28" fmla="*/ 46 w 143"/>
                <a:gd name="T29" fmla="*/ 104 h 132"/>
                <a:gd name="T30" fmla="*/ 30 w 143"/>
                <a:gd name="T31" fmla="*/ 86 h 132"/>
                <a:gd name="T32" fmla="*/ 20 w 143"/>
                <a:gd name="T33" fmla="*/ 69 h 132"/>
                <a:gd name="T34" fmla="*/ 6 w 143"/>
                <a:gd name="T35" fmla="*/ 49 h 132"/>
                <a:gd name="T36" fmla="*/ 26 w 143"/>
                <a:gd name="T37" fmla="*/ 11 h 132"/>
                <a:gd name="T38" fmla="*/ 64 w 143"/>
                <a:gd name="T39" fmla="*/ 17 h 132"/>
                <a:gd name="T40" fmla="*/ 89 w 143"/>
                <a:gd name="T41" fmla="*/ 21 h 132"/>
                <a:gd name="T42" fmla="*/ 100 w 143"/>
                <a:gd name="T43" fmla="*/ 43 h 132"/>
                <a:gd name="T44" fmla="*/ 121 w 143"/>
                <a:gd name="T45" fmla="*/ 56 h 132"/>
                <a:gd name="T46" fmla="*/ 125 w 143"/>
                <a:gd name="T47" fmla="*/ 81 h 132"/>
                <a:gd name="T48" fmla="*/ 140 w 143"/>
                <a:gd name="T49" fmla="*/ 96 h 132"/>
                <a:gd name="T50" fmla="*/ 138 w 143"/>
                <a:gd name="T51" fmla="*/ 119 h 132"/>
                <a:gd name="T52" fmla="*/ 109 w 143"/>
                <a:gd name="T53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3" h="132">
                  <a:moveTo>
                    <a:pt x="109" y="129"/>
                  </a:moveTo>
                  <a:cubicBezTo>
                    <a:pt x="107" y="129"/>
                    <a:pt x="106" y="129"/>
                    <a:pt x="104" y="128"/>
                  </a:cubicBezTo>
                  <a:cubicBezTo>
                    <a:pt x="93" y="122"/>
                    <a:pt x="98" y="112"/>
                    <a:pt x="96" y="105"/>
                  </a:cubicBezTo>
                  <a:cubicBezTo>
                    <a:pt x="93" y="98"/>
                    <a:pt x="82" y="103"/>
                    <a:pt x="78" y="97"/>
                  </a:cubicBezTo>
                  <a:cubicBezTo>
                    <a:pt x="76" y="93"/>
                    <a:pt x="76" y="89"/>
                    <a:pt x="75" y="85"/>
                  </a:cubicBezTo>
                  <a:cubicBezTo>
                    <a:pt x="75" y="83"/>
                    <a:pt x="74" y="81"/>
                    <a:pt x="73" y="79"/>
                  </a:cubicBezTo>
                  <a:cubicBezTo>
                    <a:pt x="70" y="73"/>
                    <a:pt x="64" y="77"/>
                    <a:pt x="59" y="73"/>
                  </a:cubicBezTo>
                  <a:cubicBezTo>
                    <a:pt x="54" y="70"/>
                    <a:pt x="53" y="58"/>
                    <a:pt x="49" y="54"/>
                  </a:cubicBezTo>
                  <a:cubicBezTo>
                    <a:pt x="45" y="50"/>
                    <a:pt x="40" y="55"/>
                    <a:pt x="34" y="56"/>
                  </a:cubicBezTo>
                  <a:cubicBezTo>
                    <a:pt x="27" y="56"/>
                    <a:pt x="18" y="52"/>
                    <a:pt x="18" y="52"/>
                  </a:cubicBezTo>
                  <a:cubicBezTo>
                    <a:pt x="16" y="59"/>
                    <a:pt x="34" y="80"/>
                    <a:pt x="40" y="81"/>
                  </a:cubicBezTo>
                  <a:cubicBezTo>
                    <a:pt x="45" y="83"/>
                    <a:pt x="50" y="75"/>
                    <a:pt x="52" y="75"/>
                  </a:cubicBezTo>
                  <a:cubicBezTo>
                    <a:pt x="53" y="75"/>
                    <a:pt x="61" y="93"/>
                    <a:pt x="61" y="93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3" y="87"/>
                    <a:pt x="38" y="91"/>
                    <a:pt x="30" y="86"/>
                  </a:cubicBezTo>
                  <a:cubicBezTo>
                    <a:pt x="22" y="81"/>
                    <a:pt x="21" y="78"/>
                    <a:pt x="20" y="69"/>
                  </a:cubicBezTo>
                  <a:cubicBezTo>
                    <a:pt x="18" y="60"/>
                    <a:pt x="12" y="65"/>
                    <a:pt x="6" y="49"/>
                  </a:cubicBezTo>
                  <a:cubicBezTo>
                    <a:pt x="0" y="33"/>
                    <a:pt x="8" y="22"/>
                    <a:pt x="26" y="11"/>
                  </a:cubicBezTo>
                  <a:cubicBezTo>
                    <a:pt x="45" y="0"/>
                    <a:pt x="56" y="14"/>
                    <a:pt x="64" y="17"/>
                  </a:cubicBezTo>
                  <a:cubicBezTo>
                    <a:pt x="71" y="20"/>
                    <a:pt x="84" y="16"/>
                    <a:pt x="89" y="21"/>
                  </a:cubicBezTo>
                  <a:cubicBezTo>
                    <a:pt x="94" y="26"/>
                    <a:pt x="93" y="37"/>
                    <a:pt x="100" y="43"/>
                  </a:cubicBezTo>
                  <a:cubicBezTo>
                    <a:pt x="107" y="50"/>
                    <a:pt x="117" y="49"/>
                    <a:pt x="121" y="56"/>
                  </a:cubicBezTo>
                  <a:cubicBezTo>
                    <a:pt x="125" y="64"/>
                    <a:pt x="119" y="74"/>
                    <a:pt x="125" y="81"/>
                  </a:cubicBezTo>
                  <a:cubicBezTo>
                    <a:pt x="130" y="88"/>
                    <a:pt x="137" y="90"/>
                    <a:pt x="140" y="96"/>
                  </a:cubicBezTo>
                  <a:cubicBezTo>
                    <a:pt x="142" y="102"/>
                    <a:pt x="143" y="108"/>
                    <a:pt x="138" y="119"/>
                  </a:cubicBezTo>
                  <a:cubicBezTo>
                    <a:pt x="134" y="128"/>
                    <a:pt x="120" y="132"/>
                    <a:pt x="109" y="129"/>
                  </a:cubicBezTo>
                  <a:close/>
                </a:path>
              </a:pathLst>
            </a:custGeom>
            <a:solidFill>
              <a:srgbClr val="FF8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íślîḑê"/>
            <p:cNvSpPr/>
            <p:nvPr/>
          </p:nvSpPr>
          <p:spPr bwMode="auto">
            <a:xfrm>
              <a:off x="8290401" y="4377584"/>
              <a:ext cx="144948" cy="141279"/>
            </a:xfrm>
            <a:custGeom>
              <a:avLst/>
              <a:gdLst>
                <a:gd name="T0" fmla="*/ 0 w 38"/>
                <a:gd name="T1" fmla="*/ 32 h 37"/>
                <a:gd name="T2" fmla="*/ 26 w 38"/>
                <a:gd name="T3" fmla="*/ 0 h 37"/>
                <a:gd name="T4" fmla="*/ 29 w 38"/>
                <a:gd name="T5" fmla="*/ 32 h 37"/>
                <a:gd name="T6" fmla="*/ 0 w 38"/>
                <a:gd name="T7" fmla="*/ 3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7">
                  <a:moveTo>
                    <a:pt x="0" y="32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38" y="27"/>
                    <a:pt x="29" y="32"/>
                  </a:cubicBezTo>
                  <a:cubicBezTo>
                    <a:pt x="21" y="37"/>
                    <a:pt x="0" y="32"/>
                    <a:pt x="0" y="32"/>
                  </a:cubicBezTo>
                  <a:close/>
                </a:path>
              </a:pathLst>
            </a:custGeom>
            <a:solidFill>
              <a:srgbClr val="4B5C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ṣļidê"/>
            <p:cNvSpPr/>
            <p:nvPr/>
          </p:nvSpPr>
          <p:spPr bwMode="auto">
            <a:xfrm>
              <a:off x="6178565" y="3966593"/>
              <a:ext cx="1772401" cy="456862"/>
            </a:xfrm>
            <a:custGeom>
              <a:avLst/>
              <a:gdLst>
                <a:gd name="T0" fmla="*/ 964 w 966"/>
                <a:gd name="T1" fmla="*/ 249 h 249"/>
                <a:gd name="T2" fmla="*/ 0 w 966"/>
                <a:gd name="T3" fmla="*/ 8 h 249"/>
                <a:gd name="T4" fmla="*/ 0 w 966"/>
                <a:gd name="T5" fmla="*/ 0 h 249"/>
                <a:gd name="T6" fmla="*/ 966 w 966"/>
                <a:gd name="T7" fmla="*/ 241 h 249"/>
                <a:gd name="T8" fmla="*/ 964 w 966"/>
                <a:gd name="T9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6" h="249">
                  <a:moveTo>
                    <a:pt x="964" y="249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966" y="241"/>
                  </a:lnTo>
                  <a:lnTo>
                    <a:pt x="964" y="249"/>
                  </a:lnTo>
                  <a:close/>
                </a:path>
              </a:pathLst>
            </a:custGeom>
            <a:solidFill>
              <a:srgbClr val="B1B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7" name="文本占位符 6"/>
          <p:cNvSpPr>
            <a:spLocks noGrp="1"/>
          </p:cNvSpPr>
          <p:nvPr>
            <p:ph type="body" sz="quarter" idx="17"/>
          </p:nvPr>
        </p:nvSpPr>
        <p:spPr>
          <a:xfrm>
            <a:off x="1212467" y="629839"/>
            <a:ext cx="3530983" cy="646331"/>
          </a:xfrm>
        </p:spPr>
        <p:txBody>
          <a:bodyPr wrap="square">
            <a:spAutoFit/>
          </a:bodyPr>
          <a:lstStyle/>
          <a:p>
            <a:pPr algn="dist"/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Arial" panose="020B0604020202020204" pitchFamily="34" charset="0"/>
              </a:rPr>
              <a:t>CONTENTS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Arial" panose="020B0604020202020204" pitchFamily="34" charset="0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173242" y="4760891"/>
            <a:ext cx="4727075" cy="396583"/>
          </a:xfr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i="0" u="none" strike="noStrike" kern="1200" cap="none" spc="30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What should we do</a:t>
            </a:r>
            <a:endParaRPr kumimoji="0" lang="zh-CN" altLang="en-US" sz="18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alpha val="70000"/>
                </a:schemeClr>
              </a:solidFill>
              <a:effectLst/>
              <a:uLnTx/>
              <a:uFillTx/>
              <a:latin typeface="思源宋体 CN ExtraLight" panose="02020200000000000000" pitchFamily="18" charset="-122"/>
              <a:ea typeface="思源宋体 CN ExtraLight" panose="02020200000000000000" pitchFamily="18" charset="-122"/>
              <a:cs typeface="Alibaba Sans Light" panose="020B0303020203040204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2120129" y="2023675"/>
            <a:ext cx="4268442" cy="430374"/>
          </a:xfr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000" spc="300" dirty="0">
                <a:solidFill>
                  <a:schemeClr val="tx1">
                    <a:alpha val="70000"/>
                  </a:schemeClr>
                </a:solidFill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I</a:t>
            </a:r>
            <a:r>
              <a:rPr kumimoji="0" lang="en-US" altLang="zh-CN" sz="2000" i="0" u="none" strike="noStrike" kern="1200" cap="none" spc="300" normalizeH="0" baseline="0" noProof="0" dirty="0" err="1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mportance</a:t>
            </a:r>
            <a:r>
              <a:rPr kumimoji="0" lang="en-US" altLang="zh-CN" sz="2000" i="0" u="none" strike="noStrike" kern="1200" cap="none" spc="30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 of harmony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alpha val="70000"/>
                </a:schemeClr>
              </a:solidFill>
              <a:effectLst/>
              <a:uLnTx/>
              <a:uFillTx/>
              <a:latin typeface="思源宋体 CN ExtraLight" panose="02020200000000000000" pitchFamily="18" charset="-122"/>
              <a:ea typeface="思源宋体 CN ExtraLight" panose="02020200000000000000" pitchFamily="18" charset="-122"/>
              <a:cs typeface="Alibaba Sans Light" panose="020B0303020203040204" pitchFamily="34" charset="0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2114005" y="3842399"/>
            <a:ext cx="5517591" cy="430374"/>
          </a:xfr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i="0" u="none" strike="noStrike" kern="1200" cap="none" spc="30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Global harmony 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alpha val="70000"/>
                </a:schemeClr>
              </a:solidFill>
              <a:effectLst/>
              <a:uLnTx/>
              <a:uFillTx/>
              <a:latin typeface="思源宋体 CN ExtraLight" panose="02020200000000000000" pitchFamily="18" charset="-122"/>
              <a:ea typeface="思源宋体 CN ExtraLight" panose="02020200000000000000" pitchFamily="18" charset="-122"/>
              <a:cs typeface="Alibaba Sans Light" panose="020B0303020203040204" pitchFamily="34" charset="0"/>
            </a:endParaRPr>
          </a:p>
        </p:txBody>
      </p:sp>
      <p:pic>
        <p:nvPicPr>
          <p:cNvPr id="13" name="图片占位符 12"/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5" r="5905"/>
          <a:stretch>
            <a:fillRect/>
          </a:stretch>
        </p:blipFill>
        <p:spPr>
          <a:blipFill>
            <a:blip r:embed="rId3"/>
            <a:stretch>
              <a:fillRect/>
            </a:stretch>
          </a:blipFill>
        </p:spPr>
      </p:pic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>
          <a:xfrm>
            <a:off x="2103301" y="2948391"/>
            <a:ext cx="4786312" cy="430374"/>
          </a:xfr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i="0" u="none" strike="noStrike" kern="1200" cap="none" spc="30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Harmony in China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alpha val="70000"/>
                </a:schemeClr>
              </a:solidFill>
              <a:effectLst/>
              <a:uLnTx/>
              <a:uFillTx/>
              <a:latin typeface="思源宋体 CN ExtraLight" panose="02020200000000000000" pitchFamily="18" charset="-122"/>
              <a:ea typeface="思源宋体 CN ExtraLight" panose="02020200000000000000" pitchFamily="18" charset="-122"/>
              <a:cs typeface="Alibaba Sans Light" panose="020B0303020203040204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0000"/>
                </a:schemeClr>
              </a:gs>
              <a:gs pos="100000">
                <a:schemeClr val="tx1">
                  <a:alpha val="2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 useBgFill="1">
        <p:nvSpPr>
          <p:cNvPr id="7" name="任意多边形: 形状 6"/>
          <p:cNvSpPr/>
          <p:nvPr/>
        </p:nvSpPr>
        <p:spPr>
          <a:xfrm rot="2525489">
            <a:off x="7037258" y="-2000674"/>
            <a:ext cx="10440000" cy="10440000"/>
          </a:xfrm>
          <a:custGeom>
            <a:avLst/>
            <a:gdLst>
              <a:gd name="connsiteX0" fmla="*/ 5916343 w 7904349"/>
              <a:gd name="connsiteY0" fmla="*/ 4189628 h 7904592"/>
              <a:gd name="connsiteX1" fmla="*/ 7904349 w 7904349"/>
              <a:gd name="connsiteY1" fmla="*/ 4189628 h 7904592"/>
              <a:gd name="connsiteX2" fmla="*/ 7894186 w 7904349"/>
              <a:gd name="connsiteY2" fmla="*/ 4332200 h 7904592"/>
              <a:gd name="connsiteX3" fmla="*/ 4357061 w 7904349"/>
              <a:gd name="connsiteY3" fmla="*/ 7891851 h 7904592"/>
              <a:gd name="connsiteX4" fmla="*/ 4189506 w 7904349"/>
              <a:gd name="connsiteY4" fmla="*/ 7904592 h 7904592"/>
              <a:gd name="connsiteX5" fmla="*/ 4189506 w 7904349"/>
              <a:gd name="connsiteY5" fmla="*/ 5916749 h 7904592"/>
              <a:gd name="connsiteX6" fmla="*/ 4351213 w 7904349"/>
              <a:gd name="connsiteY6" fmla="*/ 5892070 h 7904592"/>
              <a:gd name="connsiteX7" fmla="*/ 5901249 w 7904349"/>
              <a:gd name="connsiteY7" fmla="*/ 4302789 h 7904592"/>
              <a:gd name="connsiteX8" fmla="*/ 0 w 7904349"/>
              <a:gd name="connsiteY8" fmla="*/ 4189628 h 7904592"/>
              <a:gd name="connsiteX9" fmla="*/ 1988006 w 7904349"/>
              <a:gd name="connsiteY9" fmla="*/ 4189628 h 7904592"/>
              <a:gd name="connsiteX10" fmla="*/ 2003100 w 7904349"/>
              <a:gd name="connsiteY10" fmla="*/ 4302789 h 7904592"/>
              <a:gd name="connsiteX11" fmla="*/ 3553135 w 7904349"/>
              <a:gd name="connsiteY11" fmla="*/ 5892070 h 7904592"/>
              <a:gd name="connsiteX12" fmla="*/ 3714842 w 7904349"/>
              <a:gd name="connsiteY12" fmla="*/ 5916749 h 7904592"/>
              <a:gd name="connsiteX13" fmla="*/ 3714842 w 7904349"/>
              <a:gd name="connsiteY13" fmla="*/ 7904592 h 7904592"/>
              <a:gd name="connsiteX14" fmla="*/ 3547287 w 7904349"/>
              <a:gd name="connsiteY14" fmla="*/ 7891851 h 7904592"/>
              <a:gd name="connsiteX15" fmla="*/ 10162 w 7904349"/>
              <a:gd name="connsiteY15" fmla="*/ 4332200 h 7904592"/>
              <a:gd name="connsiteX16" fmla="*/ 4189506 w 7904349"/>
              <a:gd name="connsiteY16" fmla="*/ 0 h 7904592"/>
              <a:gd name="connsiteX17" fmla="*/ 4357061 w 7904349"/>
              <a:gd name="connsiteY17" fmla="*/ 12741 h 7904592"/>
              <a:gd name="connsiteX18" fmla="*/ 7894186 w 7904349"/>
              <a:gd name="connsiteY18" fmla="*/ 3572393 h 7904592"/>
              <a:gd name="connsiteX19" fmla="*/ 7904349 w 7904349"/>
              <a:gd name="connsiteY19" fmla="*/ 3714964 h 7904592"/>
              <a:gd name="connsiteX20" fmla="*/ 5916343 w 7904349"/>
              <a:gd name="connsiteY20" fmla="*/ 3714964 h 7904592"/>
              <a:gd name="connsiteX21" fmla="*/ 5901249 w 7904349"/>
              <a:gd name="connsiteY21" fmla="*/ 3601803 h 7904592"/>
              <a:gd name="connsiteX22" fmla="*/ 4351213 w 7904349"/>
              <a:gd name="connsiteY22" fmla="*/ 2012523 h 7904592"/>
              <a:gd name="connsiteX23" fmla="*/ 4189506 w 7904349"/>
              <a:gd name="connsiteY23" fmla="*/ 1987843 h 7904592"/>
              <a:gd name="connsiteX24" fmla="*/ 3714842 w 7904349"/>
              <a:gd name="connsiteY24" fmla="*/ 0 h 7904592"/>
              <a:gd name="connsiteX25" fmla="*/ 3714842 w 7904349"/>
              <a:gd name="connsiteY25" fmla="*/ 1987843 h 7904592"/>
              <a:gd name="connsiteX26" fmla="*/ 3553135 w 7904349"/>
              <a:gd name="connsiteY26" fmla="*/ 2012523 h 7904592"/>
              <a:gd name="connsiteX27" fmla="*/ 2003100 w 7904349"/>
              <a:gd name="connsiteY27" fmla="*/ 3601803 h 7904592"/>
              <a:gd name="connsiteX28" fmla="*/ 1988006 w 7904349"/>
              <a:gd name="connsiteY28" fmla="*/ 3714964 h 7904592"/>
              <a:gd name="connsiteX29" fmla="*/ 0 w 7904349"/>
              <a:gd name="connsiteY29" fmla="*/ 3714964 h 7904592"/>
              <a:gd name="connsiteX30" fmla="*/ 10162 w 7904349"/>
              <a:gd name="connsiteY30" fmla="*/ 3572393 h 7904592"/>
              <a:gd name="connsiteX31" fmla="*/ 3547287 w 7904349"/>
              <a:gd name="connsiteY31" fmla="*/ 12741 h 790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904349" h="7904592">
                <a:moveTo>
                  <a:pt x="5916343" y="4189628"/>
                </a:moveTo>
                <a:lnTo>
                  <a:pt x="7904349" y="4189628"/>
                </a:lnTo>
                <a:lnTo>
                  <a:pt x="7894186" y="4332200"/>
                </a:lnTo>
                <a:cubicBezTo>
                  <a:pt x="7715678" y="6207659"/>
                  <a:pt x="6229112" y="7701734"/>
                  <a:pt x="4357061" y="7891851"/>
                </a:cubicBezTo>
                <a:lnTo>
                  <a:pt x="4189506" y="7904592"/>
                </a:lnTo>
                <a:lnTo>
                  <a:pt x="4189506" y="5916749"/>
                </a:lnTo>
                <a:lnTo>
                  <a:pt x="4351213" y="5892070"/>
                </a:lnTo>
                <a:cubicBezTo>
                  <a:pt x="5140685" y="5730521"/>
                  <a:pt x="5759004" y="5099119"/>
                  <a:pt x="5901249" y="4302789"/>
                </a:cubicBezTo>
                <a:close/>
                <a:moveTo>
                  <a:pt x="0" y="4189628"/>
                </a:moveTo>
                <a:lnTo>
                  <a:pt x="1988006" y="4189628"/>
                </a:lnTo>
                <a:lnTo>
                  <a:pt x="2003100" y="4302789"/>
                </a:lnTo>
                <a:cubicBezTo>
                  <a:pt x="2145344" y="5099119"/>
                  <a:pt x="2763664" y="5730521"/>
                  <a:pt x="3553135" y="5892070"/>
                </a:cubicBezTo>
                <a:lnTo>
                  <a:pt x="3714842" y="5916749"/>
                </a:lnTo>
                <a:lnTo>
                  <a:pt x="3714842" y="7904592"/>
                </a:lnTo>
                <a:lnTo>
                  <a:pt x="3547287" y="7891851"/>
                </a:lnTo>
                <a:cubicBezTo>
                  <a:pt x="1675236" y="7701734"/>
                  <a:pt x="188670" y="6207659"/>
                  <a:pt x="10162" y="4332200"/>
                </a:cubicBezTo>
                <a:close/>
                <a:moveTo>
                  <a:pt x="4189506" y="0"/>
                </a:moveTo>
                <a:lnTo>
                  <a:pt x="4357061" y="12741"/>
                </a:lnTo>
                <a:cubicBezTo>
                  <a:pt x="6229112" y="202858"/>
                  <a:pt x="7715678" y="1696933"/>
                  <a:pt x="7894186" y="3572393"/>
                </a:cubicBezTo>
                <a:lnTo>
                  <a:pt x="7904349" y="3714964"/>
                </a:lnTo>
                <a:lnTo>
                  <a:pt x="5916343" y="3714964"/>
                </a:lnTo>
                <a:lnTo>
                  <a:pt x="5901249" y="3601803"/>
                </a:lnTo>
                <a:cubicBezTo>
                  <a:pt x="5759004" y="2805473"/>
                  <a:pt x="5140685" y="2174072"/>
                  <a:pt x="4351213" y="2012523"/>
                </a:cubicBezTo>
                <a:lnTo>
                  <a:pt x="4189506" y="1987843"/>
                </a:lnTo>
                <a:close/>
                <a:moveTo>
                  <a:pt x="3714842" y="0"/>
                </a:moveTo>
                <a:lnTo>
                  <a:pt x="3714842" y="1987843"/>
                </a:lnTo>
                <a:lnTo>
                  <a:pt x="3553135" y="2012523"/>
                </a:lnTo>
                <a:cubicBezTo>
                  <a:pt x="2763664" y="2174072"/>
                  <a:pt x="2145344" y="2805473"/>
                  <a:pt x="2003100" y="3601803"/>
                </a:cubicBezTo>
                <a:lnTo>
                  <a:pt x="1988006" y="3714964"/>
                </a:lnTo>
                <a:lnTo>
                  <a:pt x="0" y="3714964"/>
                </a:lnTo>
                <a:lnTo>
                  <a:pt x="10162" y="3572393"/>
                </a:lnTo>
                <a:cubicBezTo>
                  <a:pt x="188670" y="1696933"/>
                  <a:pt x="1675236" y="202858"/>
                  <a:pt x="3547287" y="12741"/>
                </a:cubicBezTo>
                <a:close/>
              </a:path>
            </a:pathLst>
          </a:custGeom>
          <a:ln>
            <a:noFill/>
          </a:ln>
          <a:effectLst>
            <a:outerShdw blurRad="546100" sx="102000" sy="102000" algn="ctr" rotWithShape="0">
              <a:prstClr val="black">
                <a:alpha val="67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0" y="0"/>
            <a:ext cx="90741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harmony in diversity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0" y="-6743700"/>
            <a:ext cx="92138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ctions and contributions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33401" y="1532914"/>
            <a:ext cx="6350000" cy="3970318"/>
          </a:xfrm>
          <a:prstGeom prst="rect">
            <a:avLst/>
          </a:prstGeom>
          <a:solidFill>
            <a:schemeClr val="bg1">
              <a:alpha val="51000"/>
            </a:schemeClr>
          </a:solidFill>
          <a:effectLst>
            <a:softEdge rad="203200"/>
          </a:effec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        In today's world, the future and destiny of all countries are closely linked, and only by sharing and learning </a:t>
            </a: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from each other on an equal footing </a:t>
            </a: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on the basis of respecting </a:t>
            </a: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different countries and civilizations can </a:t>
            </a: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we achieve common development and mutual benefit.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533401" y="-4761905"/>
            <a:ext cx="6350000" cy="2677656"/>
          </a:xfrm>
          <a:prstGeom prst="rect">
            <a:avLst/>
          </a:prstGeom>
          <a:solidFill>
            <a:schemeClr val="bg1">
              <a:alpha val="56000"/>
            </a:schemeClr>
          </a:solidFill>
          <a:effectLst>
            <a:softEdge rad="165100"/>
          </a:effectLst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A comprehensive ceasefire and cessation of hostilitie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Earnestly protect civilian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Ensuring humanitarian assistanc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increase diplomatic mediation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seek a political solution.</a:t>
            </a:r>
            <a:endParaRPr lang="zh-CN" altLang="en-US" sz="2800" b="1" kern="100" dirty="0">
              <a:latin typeface="华文细黑" panose="02010600040101010101" pitchFamily="2" charset="-122"/>
              <a:ea typeface="华文细黑" panose="02010600040101010101" pitchFamily="2" charset="-122"/>
              <a:cs typeface="MV Boli" panose="02000500030200090000" pitchFamily="2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81897" y="-13924939"/>
            <a:ext cx="92138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fforts and prospects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15298" y="-11943144"/>
            <a:ext cx="5380702" cy="2677656"/>
          </a:xfrm>
          <a:prstGeom prst="rect">
            <a:avLst/>
          </a:prstGeom>
          <a:solidFill>
            <a:schemeClr val="bg1">
              <a:alpha val="56000"/>
            </a:schemeClr>
          </a:solidFill>
          <a:effectLst>
            <a:softEdge rad="165100"/>
          </a:effec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        By actively participating in international cooperation and cultural exchanges, we can contribute to building a more harmonious, prosperous and respectful global society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0000"/>
                </a:schemeClr>
              </a:gs>
              <a:gs pos="100000">
                <a:schemeClr val="tx1">
                  <a:alpha val="2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 useBgFill="1">
        <p:nvSpPr>
          <p:cNvPr id="7" name="任意多边形: 形状 6"/>
          <p:cNvSpPr/>
          <p:nvPr/>
        </p:nvSpPr>
        <p:spPr>
          <a:xfrm rot="18724761">
            <a:off x="7037258" y="-2000674"/>
            <a:ext cx="10440000" cy="10440000"/>
          </a:xfrm>
          <a:custGeom>
            <a:avLst/>
            <a:gdLst>
              <a:gd name="connsiteX0" fmla="*/ 5916343 w 7904349"/>
              <a:gd name="connsiteY0" fmla="*/ 4189628 h 7904592"/>
              <a:gd name="connsiteX1" fmla="*/ 7904349 w 7904349"/>
              <a:gd name="connsiteY1" fmla="*/ 4189628 h 7904592"/>
              <a:gd name="connsiteX2" fmla="*/ 7894186 w 7904349"/>
              <a:gd name="connsiteY2" fmla="*/ 4332200 h 7904592"/>
              <a:gd name="connsiteX3" fmla="*/ 4357061 w 7904349"/>
              <a:gd name="connsiteY3" fmla="*/ 7891851 h 7904592"/>
              <a:gd name="connsiteX4" fmla="*/ 4189506 w 7904349"/>
              <a:gd name="connsiteY4" fmla="*/ 7904592 h 7904592"/>
              <a:gd name="connsiteX5" fmla="*/ 4189506 w 7904349"/>
              <a:gd name="connsiteY5" fmla="*/ 5916749 h 7904592"/>
              <a:gd name="connsiteX6" fmla="*/ 4351213 w 7904349"/>
              <a:gd name="connsiteY6" fmla="*/ 5892070 h 7904592"/>
              <a:gd name="connsiteX7" fmla="*/ 5901249 w 7904349"/>
              <a:gd name="connsiteY7" fmla="*/ 4302789 h 7904592"/>
              <a:gd name="connsiteX8" fmla="*/ 0 w 7904349"/>
              <a:gd name="connsiteY8" fmla="*/ 4189628 h 7904592"/>
              <a:gd name="connsiteX9" fmla="*/ 1988006 w 7904349"/>
              <a:gd name="connsiteY9" fmla="*/ 4189628 h 7904592"/>
              <a:gd name="connsiteX10" fmla="*/ 2003100 w 7904349"/>
              <a:gd name="connsiteY10" fmla="*/ 4302789 h 7904592"/>
              <a:gd name="connsiteX11" fmla="*/ 3553135 w 7904349"/>
              <a:gd name="connsiteY11" fmla="*/ 5892070 h 7904592"/>
              <a:gd name="connsiteX12" fmla="*/ 3714842 w 7904349"/>
              <a:gd name="connsiteY12" fmla="*/ 5916749 h 7904592"/>
              <a:gd name="connsiteX13" fmla="*/ 3714842 w 7904349"/>
              <a:gd name="connsiteY13" fmla="*/ 7904592 h 7904592"/>
              <a:gd name="connsiteX14" fmla="*/ 3547287 w 7904349"/>
              <a:gd name="connsiteY14" fmla="*/ 7891851 h 7904592"/>
              <a:gd name="connsiteX15" fmla="*/ 10162 w 7904349"/>
              <a:gd name="connsiteY15" fmla="*/ 4332200 h 7904592"/>
              <a:gd name="connsiteX16" fmla="*/ 4189506 w 7904349"/>
              <a:gd name="connsiteY16" fmla="*/ 0 h 7904592"/>
              <a:gd name="connsiteX17" fmla="*/ 4357061 w 7904349"/>
              <a:gd name="connsiteY17" fmla="*/ 12741 h 7904592"/>
              <a:gd name="connsiteX18" fmla="*/ 7894186 w 7904349"/>
              <a:gd name="connsiteY18" fmla="*/ 3572393 h 7904592"/>
              <a:gd name="connsiteX19" fmla="*/ 7904349 w 7904349"/>
              <a:gd name="connsiteY19" fmla="*/ 3714964 h 7904592"/>
              <a:gd name="connsiteX20" fmla="*/ 5916343 w 7904349"/>
              <a:gd name="connsiteY20" fmla="*/ 3714964 h 7904592"/>
              <a:gd name="connsiteX21" fmla="*/ 5901249 w 7904349"/>
              <a:gd name="connsiteY21" fmla="*/ 3601803 h 7904592"/>
              <a:gd name="connsiteX22" fmla="*/ 4351213 w 7904349"/>
              <a:gd name="connsiteY22" fmla="*/ 2012523 h 7904592"/>
              <a:gd name="connsiteX23" fmla="*/ 4189506 w 7904349"/>
              <a:gd name="connsiteY23" fmla="*/ 1987843 h 7904592"/>
              <a:gd name="connsiteX24" fmla="*/ 3714842 w 7904349"/>
              <a:gd name="connsiteY24" fmla="*/ 0 h 7904592"/>
              <a:gd name="connsiteX25" fmla="*/ 3714842 w 7904349"/>
              <a:gd name="connsiteY25" fmla="*/ 1987843 h 7904592"/>
              <a:gd name="connsiteX26" fmla="*/ 3553135 w 7904349"/>
              <a:gd name="connsiteY26" fmla="*/ 2012523 h 7904592"/>
              <a:gd name="connsiteX27" fmla="*/ 2003100 w 7904349"/>
              <a:gd name="connsiteY27" fmla="*/ 3601803 h 7904592"/>
              <a:gd name="connsiteX28" fmla="*/ 1988006 w 7904349"/>
              <a:gd name="connsiteY28" fmla="*/ 3714964 h 7904592"/>
              <a:gd name="connsiteX29" fmla="*/ 0 w 7904349"/>
              <a:gd name="connsiteY29" fmla="*/ 3714964 h 7904592"/>
              <a:gd name="connsiteX30" fmla="*/ 10162 w 7904349"/>
              <a:gd name="connsiteY30" fmla="*/ 3572393 h 7904592"/>
              <a:gd name="connsiteX31" fmla="*/ 3547287 w 7904349"/>
              <a:gd name="connsiteY31" fmla="*/ 12741 h 790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904349" h="7904592">
                <a:moveTo>
                  <a:pt x="5916343" y="4189628"/>
                </a:moveTo>
                <a:lnTo>
                  <a:pt x="7904349" y="4189628"/>
                </a:lnTo>
                <a:lnTo>
                  <a:pt x="7894186" y="4332200"/>
                </a:lnTo>
                <a:cubicBezTo>
                  <a:pt x="7715678" y="6207659"/>
                  <a:pt x="6229112" y="7701734"/>
                  <a:pt x="4357061" y="7891851"/>
                </a:cubicBezTo>
                <a:lnTo>
                  <a:pt x="4189506" y="7904592"/>
                </a:lnTo>
                <a:lnTo>
                  <a:pt x="4189506" y="5916749"/>
                </a:lnTo>
                <a:lnTo>
                  <a:pt x="4351213" y="5892070"/>
                </a:lnTo>
                <a:cubicBezTo>
                  <a:pt x="5140685" y="5730521"/>
                  <a:pt x="5759004" y="5099119"/>
                  <a:pt x="5901249" y="4302789"/>
                </a:cubicBezTo>
                <a:close/>
                <a:moveTo>
                  <a:pt x="0" y="4189628"/>
                </a:moveTo>
                <a:lnTo>
                  <a:pt x="1988006" y="4189628"/>
                </a:lnTo>
                <a:lnTo>
                  <a:pt x="2003100" y="4302789"/>
                </a:lnTo>
                <a:cubicBezTo>
                  <a:pt x="2145344" y="5099119"/>
                  <a:pt x="2763664" y="5730521"/>
                  <a:pt x="3553135" y="5892070"/>
                </a:cubicBezTo>
                <a:lnTo>
                  <a:pt x="3714842" y="5916749"/>
                </a:lnTo>
                <a:lnTo>
                  <a:pt x="3714842" y="7904592"/>
                </a:lnTo>
                <a:lnTo>
                  <a:pt x="3547287" y="7891851"/>
                </a:lnTo>
                <a:cubicBezTo>
                  <a:pt x="1675236" y="7701734"/>
                  <a:pt x="188670" y="6207659"/>
                  <a:pt x="10162" y="4332200"/>
                </a:cubicBezTo>
                <a:close/>
                <a:moveTo>
                  <a:pt x="4189506" y="0"/>
                </a:moveTo>
                <a:lnTo>
                  <a:pt x="4357061" y="12741"/>
                </a:lnTo>
                <a:cubicBezTo>
                  <a:pt x="6229112" y="202858"/>
                  <a:pt x="7715678" y="1696933"/>
                  <a:pt x="7894186" y="3572393"/>
                </a:cubicBezTo>
                <a:lnTo>
                  <a:pt x="7904349" y="3714964"/>
                </a:lnTo>
                <a:lnTo>
                  <a:pt x="5916343" y="3714964"/>
                </a:lnTo>
                <a:lnTo>
                  <a:pt x="5901249" y="3601803"/>
                </a:lnTo>
                <a:cubicBezTo>
                  <a:pt x="5759004" y="2805473"/>
                  <a:pt x="5140685" y="2174072"/>
                  <a:pt x="4351213" y="2012523"/>
                </a:cubicBezTo>
                <a:lnTo>
                  <a:pt x="4189506" y="1987843"/>
                </a:lnTo>
                <a:close/>
                <a:moveTo>
                  <a:pt x="3714842" y="0"/>
                </a:moveTo>
                <a:lnTo>
                  <a:pt x="3714842" y="1987843"/>
                </a:lnTo>
                <a:lnTo>
                  <a:pt x="3553135" y="2012523"/>
                </a:lnTo>
                <a:cubicBezTo>
                  <a:pt x="2763664" y="2174072"/>
                  <a:pt x="2145344" y="2805473"/>
                  <a:pt x="2003100" y="3601803"/>
                </a:cubicBezTo>
                <a:lnTo>
                  <a:pt x="1988006" y="3714964"/>
                </a:lnTo>
                <a:lnTo>
                  <a:pt x="0" y="3714964"/>
                </a:lnTo>
                <a:lnTo>
                  <a:pt x="10162" y="3572393"/>
                </a:lnTo>
                <a:cubicBezTo>
                  <a:pt x="188670" y="1696933"/>
                  <a:pt x="1675236" y="202858"/>
                  <a:pt x="3547287" y="12741"/>
                </a:cubicBezTo>
                <a:close/>
              </a:path>
            </a:pathLst>
          </a:custGeom>
          <a:ln>
            <a:noFill/>
          </a:ln>
          <a:effectLst>
            <a:outerShdw blurRad="546100" sx="102000" sy="102000" algn="ctr" rotWithShape="0">
              <a:prstClr val="black">
                <a:alpha val="67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0" y="6858000"/>
            <a:ext cx="90741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harmony in diversity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0" y="114300"/>
            <a:ext cx="92138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ctions and contributions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533401" y="8390914"/>
            <a:ext cx="6350000" cy="3970318"/>
          </a:xfrm>
          <a:prstGeom prst="rect">
            <a:avLst/>
          </a:prstGeom>
          <a:solidFill>
            <a:schemeClr val="bg1">
              <a:alpha val="51000"/>
            </a:schemeClr>
          </a:solidFill>
          <a:effectLst>
            <a:softEdge rad="203200"/>
          </a:effec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        In today's world, the future and destiny of all countries are closely linked, and only by sharing and learning </a:t>
            </a: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from each other on an equal footing </a:t>
            </a: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on the basis of respecting </a:t>
            </a: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different countries and civilizations can </a:t>
            </a: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we achieve common development and mutual benefit.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533401" y="2096095"/>
            <a:ext cx="6350000" cy="2677656"/>
          </a:xfrm>
          <a:prstGeom prst="rect">
            <a:avLst/>
          </a:prstGeom>
          <a:solidFill>
            <a:schemeClr val="bg1">
              <a:alpha val="56000"/>
            </a:schemeClr>
          </a:solidFill>
          <a:effectLst>
            <a:softEdge rad="165100"/>
          </a:effectLst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A comprehensive ceasefire and cessation of hostilitie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Earnestly protect civilian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Ensuring humanitarian assistanc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increase diplomatic mediation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seek a political solution.</a:t>
            </a:r>
            <a:endParaRPr lang="zh-CN" altLang="en-US" sz="2800" b="1" kern="100" dirty="0">
              <a:latin typeface="华文细黑" panose="02010600040101010101" pitchFamily="2" charset="-122"/>
              <a:ea typeface="华文细黑" panose="02010600040101010101" pitchFamily="2" charset="-122"/>
              <a:cs typeface="MV Boli" panose="02000500030200090000" pitchFamily="2" charset="0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181897" y="-7066939"/>
            <a:ext cx="92138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fforts and prospects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715298" y="-5085144"/>
            <a:ext cx="5380702" cy="2677656"/>
          </a:xfrm>
          <a:prstGeom prst="rect">
            <a:avLst/>
          </a:prstGeom>
          <a:solidFill>
            <a:schemeClr val="bg1">
              <a:alpha val="56000"/>
            </a:schemeClr>
          </a:solidFill>
          <a:effectLst>
            <a:softEdge rad="165100"/>
          </a:effec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        By actively participating in international cooperation and cultural exchanges, we can contribute to building a more harmonious, prosperous and respectful global society.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0000"/>
                </a:schemeClr>
              </a:gs>
              <a:gs pos="100000">
                <a:schemeClr val="tx1">
                  <a:alpha val="2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 useBgFill="1">
        <p:nvSpPr>
          <p:cNvPr id="7" name="任意多边形: 形状 6"/>
          <p:cNvSpPr/>
          <p:nvPr/>
        </p:nvSpPr>
        <p:spPr>
          <a:xfrm rot="13301936">
            <a:off x="7037258" y="-2000674"/>
            <a:ext cx="10440000" cy="10440000"/>
          </a:xfrm>
          <a:custGeom>
            <a:avLst/>
            <a:gdLst>
              <a:gd name="connsiteX0" fmla="*/ 5916343 w 7904349"/>
              <a:gd name="connsiteY0" fmla="*/ 4189628 h 7904592"/>
              <a:gd name="connsiteX1" fmla="*/ 7904349 w 7904349"/>
              <a:gd name="connsiteY1" fmla="*/ 4189628 h 7904592"/>
              <a:gd name="connsiteX2" fmla="*/ 7894186 w 7904349"/>
              <a:gd name="connsiteY2" fmla="*/ 4332200 h 7904592"/>
              <a:gd name="connsiteX3" fmla="*/ 4357061 w 7904349"/>
              <a:gd name="connsiteY3" fmla="*/ 7891851 h 7904592"/>
              <a:gd name="connsiteX4" fmla="*/ 4189506 w 7904349"/>
              <a:gd name="connsiteY4" fmla="*/ 7904592 h 7904592"/>
              <a:gd name="connsiteX5" fmla="*/ 4189506 w 7904349"/>
              <a:gd name="connsiteY5" fmla="*/ 5916749 h 7904592"/>
              <a:gd name="connsiteX6" fmla="*/ 4351213 w 7904349"/>
              <a:gd name="connsiteY6" fmla="*/ 5892070 h 7904592"/>
              <a:gd name="connsiteX7" fmla="*/ 5901249 w 7904349"/>
              <a:gd name="connsiteY7" fmla="*/ 4302789 h 7904592"/>
              <a:gd name="connsiteX8" fmla="*/ 0 w 7904349"/>
              <a:gd name="connsiteY8" fmla="*/ 4189628 h 7904592"/>
              <a:gd name="connsiteX9" fmla="*/ 1988006 w 7904349"/>
              <a:gd name="connsiteY9" fmla="*/ 4189628 h 7904592"/>
              <a:gd name="connsiteX10" fmla="*/ 2003100 w 7904349"/>
              <a:gd name="connsiteY10" fmla="*/ 4302789 h 7904592"/>
              <a:gd name="connsiteX11" fmla="*/ 3553135 w 7904349"/>
              <a:gd name="connsiteY11" fmla="*/ 5892070 h 7904592"/>
              <a:gd name="connsiteX12" fmla="*/ 3714842 w 7904349"/>
              <a:gd name="connsiteY12" fmla="*/ 5916749 h 7904592"/>
              <a:gd name="connsiteX13" fmla="*/ 3714842 w 7904349"/>
              <a:gd name="connsiteY13" fmla="*/ 7904592 h 7904592"/>
              <a:gd name="connsiteX14" fmla="*/ 3547287 w 7904349"/>
              <a:gd name="connsiteY14" fmla="*/ 7891851 h 7904592"/>
              <a:gd name="connsiteX15" fmla="*/ 10162 w 7904349"/>
              <a:gd name="connsiteY15" fmla="*/ 4332200 h 7904592"/>
              <a:gd name="connsiteX16" fmla="*/ 4189506 w 7904349"/>
              <a:gd name="connsiteY16" fmla="*/ 0 h 7904592"/>
              <a:gd name="connsiteX17" fmla="*/ 4357061 w 7904349"/>
              <a:gd name="connsiteY17" fmla="*/ 12741 h 7904592"/>
              <a:gd name="connsiteX18" fmla="*/ 7894186 w 7904349"/>
              <a:gd name="connsiteY18" fmla="*/ 3572393 h 7904592"/>
              <a:gd name="connsiteX19" fmla="*/ 7904349 w 7904349"/>
              <a:gd name="connsiteY19" fmla="*/ 3714964 h 7904592"/>
              <a:gd name="connsiteX20" fmla="*/ 5916343 w 7904349"/>
              <a:gd name="connsiteY20" fmla="*/ 3714964 h 7904592"/>
              <a:gd name="connsiteX21" fmla="*/ 5901249 w 7904349"/>
              <a:gd name="connsiteY21" fmla="*/ 3601803 h 7904592"/>
              <a:gd name="connsiteX22" fmla="*/ 4351213 w 7904349"/>
              <a:gd name="connsiteY22" fmla="*/ 2012523 h 7904592"/>
              <a:gd name="connsiteX23" fmla="*/ 4189506 w 7904349"/>
              <a:gd name="connsiteY23" fmla="*/ 1987843 h 7904592"/>
              <a:gd name="connsiteX24" fmla="*/ 3714842 w 7904349"/>
              <a:gd name="connsiteY24" fmla="*/ 0 h 7904592"/>
              <a:gd name="connsiteX25" fmla="*/ 3714842 w 7904349"/>
              <a:gd name="connsiteY25" fmla="*/ 1987843 h 7904592"/>
              <a:gd name="connsiteX26" fmla="*/ 3553135 w 7904349"/>
              <a:gd name="connsiteY26" fmla="*/ 2012523 h 7904592"/>
              <a:gd name="connsiteX27" fmla="*/ 2003100 w 7904349"/>
              <a:gd name="connsiteY27" fmla="*/ 3601803 h 7904592"/>
              <a:gd name="connsiteX28" fmla="*/ 1988006 w 7904349"/>
              <a:gd name="connsiteY28" fmla="*/ 3714964 h 7904592"/>
              <a:gd name="connsiteX29" fmla="*/ 0 w 7904349"/>
              <a:gd name="connsiteY29" fmla="*/ 3714964 h 7904592"/>
              <a:gd name="connsiteX30" fmla="*/ 10162 w 7904349"/>
              <a:gd name="connsiteY30" fmla="*/ 3572393 h 7904592"/>
              <a:gd name="connsiteX31" fmla="*/ 3547287 w 7904349"/>
              <a:gd name="connsiteY31" fmla="*/ 12741 h 790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904349" h="7904592">
                <a:moveTo>
                  <a:pt x="5916343" y="4189628"/>
                </a:moveTo>
                <a:lnTo>
                  <a:pt x="7904349" y="4189628"/>
                </a:lnTo>
                <a:lnTo>
                  <a:pt x="7894186" y="4332200"/>
                </a:lnTo>
                <a:cubicBezTo>
                  <a:pt x="7715678" y="6207659"/>
                  <a:pt x="6229112" y="7701734"/>
                  <a:pt x="4357061" y="7891851"/>
                </a:cubicBezTo>
                <a:lnTo>
                  <a:pt x="4189506" y="7904592"/>
                </a:lnTo>
                <a:lnTo>
                  <a:pt x="4189506" y="5916749"/>
                </a:lnTo>
                <a:lnTo>
                  <a:pt x="4351213" y="5892070"/>
                </a:lnTo>
                <a:cubicBezTo>
                  <a:pt x="5140685" y="5730521"/>
                  <a:pt x="5759004" y="5099119"/>
                  <a:pt x="5901249" y="4302789"/>
                </a:cubicBezTo>
                <a:close/>
                <a:moveTo>
                  <a:pt x="0" y="4189628"/>
                </a:moveTo>
                <a:lnTo>
                  <a:pt x="1988006" y="4189628"/>
                </a:lnTo>
                <a:lnTo>
                  <a:pt x="2003100" y="4302789"/>
                </a:lnTo>
                <a:cubicBezTo>
                  <a:pt x="2145344" y="5099119"/>
                  <a:pt x="2763664" y="5730521"/>
                  <a:pt x="3553135" y="5892070"/>
                </a:cubicBezTo>
                <a:lnTo>
                  <a:pt x="3714842" y="5916749"/>
                </a:lnTo>
                <a:lnTo>
                  <a:pt x="3714842" y="7904592"/>
                </a:lnTo>
                <a:lnTo>
                  <a:pt x="3547287" y="7891851"/>
                </a:lnTo>
                <a:cubicBezTo>
                  <a:pt x="1675236" y="7701734"/>
                  <a:pt x="188670" y="6207659"/>
                  <a:pt x="10162" y="4332200"/>
                </a:cubicBezTo>
                <a:close/>
                <a:moveTo>
                  <a:pt x="4189506" y="0"/>
                </a:moveTo>
                <a:lnTo>
                  <a:pt x="4357061" y="12741"/>
                </a:lnTo>
                <a:cubicBezTo>
                  <a:pt x="6229112" y="202858"/>
                  <a:pt x="7715678" y="1696933"/>
                  <a:pt x="7894186" y="3572393"/>
                </a:cubicBezTo>
                <a:lnTo>
                  <a:pt x="7904349" y="3714964"/>
                </a:lnTo>
                <a:lnTo>
                  <a:pt x="5916343" y="3714964"/>
                </a:lnTo>
                <a:lnTo>
                  <a:pt x="5901249" y="3601803"/>
                </a:lnTo>
                <a:cubicBezTo>
                  <a:pt x="5759004" y="2805473"/>
                  <a:pt x="5140685" y="2174072"/>
                  <a:pt x="4351213" y="2012523"/>
                </a:cubicBezTo>
                <a:lnTo>
                  <a:pt x="4189506" y="1987843"/>
                </a:lnTo>
                <a:close/>
                <a:moveTo>
                  <a:pt x="3714842" y="0"/>
                </a:moveTo>
                <a:lnTo>
                  <a:pt x="3714842" y="1987843"/>
                </a:lnTo>
                <a:lnTo>
                  <a:pt x="3553135" y="2012523"/>
                </a:lnTo>
                <a:cubicBezTo>
                  <a:pt x="2763664" y="2174072"/>
                  <a:pt x="2145344" y="2805473"/>
                  <a:pt x="2003100" y="3601803"/>
                </a:cubicBezTo>
                <a:lnTo>
                  <a:pt x="1988006" y="3714964"/>
                </a:lnTo>
                <a:lnTo>
                  <a:pt x="0" y="3714964"/>
                </a:lnTo>
                <a:lnTo>
                  <a:pt x="10162" y="3572393"/>
                </a:lnTo>
                <a:cubicBezTo>
                  <a:pt x="188670" y="1696933"/>
                  <a:pt x="1675236" y="202858"/>
                  <a:pt x="3547287" y="12741"/>
                </a:cubicBezTo>
                <a:close/>
              </a:path>
            </a:pathLst>
          </a:custGeom>
          <a:ln>
            <a:noFill/>
          </a:ln>
          <a:effectLst>
            <a:outerShdw blurRad="546100" sx="102000" sy="102000" algn="ctr" rotWithShape="0">
              <a:prstClr val="black">
                <a:alpha val="67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0" y="13944600"/>
            <a:ext cx="90741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harmony in diversity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0" y="7200900"/>
            <a:ext cx="92138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ctions and contributions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533401" y="15477514"/>
            <a:ext cx="6350000" cy="3970318"/>
          </a:xfrm>
          <a:prstGeom prst="rect">
            <a:avLst/>
          </a:prstGeom>
          <a:solidFill>
            <a:schemeClr val="bg1">
              <a:alpha val="51000"/>
            </a:schemeClr>
          </a:solidFill>
          <a:effectLst>
            <a:softEdge rad="203200"/>
          </a:effec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        In today's world, the future and destiny of all countries are closely linked, and only by sharing and learning </a:t>
            </a: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from each other on an equal footing </a:t>
            </a: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on the basis of respecting </a:t>
            </a: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different countries and civilizations can </a:t>
            </a:r>
            <a:r>
              <a:rPr lang="en-US" altLang="zh-CN" sz="2800" b="1" kern="100" dirty="0">
                <a:effectLst/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we achieve common development and mutual benefit.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533401" y="9182695"/>
            <a:ext cx="6350000" cy="2677656"/>
          </a:xfrm>
          <a:prstGeom prst="rect">
            <a:avLst/>
          </a:prstGeom>
          <a:solidFill>
            <a:schemeClr val="bg1">
              <a:alpha val="56000"/>
            </a:schemeClr>
          </a:solidFill>
          <a:effectLst>
            <a:softEdge rad="165100"/>
          </a:effectLst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A comprehensive ceasefire and cessation of hostilitie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Earnestly protect civilian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Ensuring humanitarian assistanc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increase diplomatic mediation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seek a political solution.</a:t>
            </a:r>
            <a:endParaRPr lang="zh-CN" altLang="en-US" sz="2800" b="1" kern="100" dirty="0">
              <a:latin typeface="华文细黑" panose="02010600040101010101" pitchFamily="2" charset="-122"/>
              <a:ea typeface="华文细黑" panose="02010600040101010101" pitchFamily="2" charset="-122"/>
              <a:cs typeface="MV Boli" panose="02000500030200090000" pitchFamily="2" charset="0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181897" y="19661"/>
            <a:ext cx="92138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fforts and prospects</a:t>
            </a:r>
            <a:endParaRPr lang="zh-CN" altLang="en-US" sz="4800" b="1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715298" y="2001456"/>
            <a:ext cx="5380702" cy="2677656"/>
          </a:xfrm>
          <a:prstGeom prst="rect">
            <a:avLst/>
          </a:prstGeom>
          <a:solidFill>
            <a:schemeClr val="bg1">
              <a:alpha val="56000"/>
            </a:schemeClr>
          </a:solidFill>
          <a:effectLst>
            <a:softEdge rad="165100"/>
          </a:effec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zh-CN" sz="2800" b="1" kern="100" dirty="0">
                <a:latin typeface="华文细黑" panose="02010600040101010101" pitchFamily="2" charset="-122"/>
                <a:ea typeface="华文细黑" panose="02010600040101010101" pitchFamily="2" charset="-122"/>
                <a:cs typeface="MV Boli" panose="02000500030200090000" pitchFamily="2" charset="0"/>
              </a:rPr>
              <a:t>        By actively participating in international cooperation and cultural exchanges, we can contribute to building a more harmonious, prosperous and respectful global society.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5304596" y="-9568"/>
            <a:ext cx="5867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5" name="Freeform 45"/>
          <p:cNvSpPr>
            <a:spLocks noEditPoints="1"/>
          </p:cNvSpPr>
          <p:nvPr/>
        </p:nvSpPr>
        <p:spPr bwMode="auto">
          <a:xfrm>
            <a:off x="7029350" y="1796094"/>
            <a:ext cx="414624" cy="414624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45" y="20"/>
              </a:cxn>
              <a:cxn ang="0">
                <a:pos x="42" y="17"/>
              </a:cxn>
              <a:cxn ang="0">
                <a:pos x="40" y="16"/>
              </a:cxn>
              <a:cxn ang="0">
                <a:pos x="38" y="17"/>
              </a:cxn>
              <a:cxn ang="0">
                <a:pos x="24" y="31"/>
              </a:cxn>
              <a:cxn ang="0">
                <a:pos x="16" y="23"/>
              </a:cxn>
              <a:cxn ang="0">
                <a:pos x="14" y="22"/>
              </a:cxn>
              <a:cxn ang="0">
                <a:pos x="13" y="23"/>
              </a:cxn>
              <a:cxn ang="0">
                <a:pos x="9" y="26"/>
              </a:cxn>
              <a:cxn ang="0">
                <a:pos x="9" y="28"/>
              </a:cxn>
              <a:cxn ang="0">
                <a:pos x="9" y="30"/>
              </a:cxn>
              <a:cxn ang="0">
                <a:pos x="22" y="43"/>
              </a:cxn>
              <a:cxn ang="0">
                <a:pos x="24" y="43"/>
              </a:cxn>
              <a:cxn ang="0">
                <a:pos x="26" y="43"/>
              </a:cxn>
              <a:cxn ang="0">
                <a:pos x="45" y="23"/>
              </a:cxn>
              <a:cxn ang="0">
                <a:pos x="46" y="22"/>
              </a:cxn>
              <a:cxn ang="0">
                <a:pos x="45" y="20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字魂58号-创中黑" panose="00000500000000000000" pitchFamily="2" charset="-122"/>
              <a:ea typeface="字魂58号-创中黑" panose="00000500000000000000" pitchFamily="2" charset="-122"/>
              <a:cs typeface="+mn-cs"/>
            </a:endParaRPr>
          </a:p>
        </p:txBody>
      </p:sp>
      <p:sp>
        <p:nvSpPr>
          <p:cNvPr id="6" name="Freeform 45"/>
          <p:cNvSpPr>
            <a:spLocks noEditPoints="1"/>
          </p:cNvSpPr>
          <p:nvPr/>
        </p:nvSpPr>
        <p:spPr bwMode="auto">
          <a:xfrm>
            <a:off x="7029350" y="3175105"/>
            <a:ext cx="414624" cy="414624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45" y="20"/>
              </a:cxn>
              <a:cxn ang="0">
                <a:pos x="42" y="17"/>
              </a:cxn>
              <a:cxn ang="0">
                <a:pos x="40" y="16"/>
              </a:cxn>
              <a:cxn ang="0">
                <a:pos x="38" y="17"/>
              </a:cxn>
              <a:cxn ang="0">
                <a:pos x="24" y="31"/>
              </a:cxn>
              <a:cxn ang="0">
                <a:pos x="16" y="23"/>
              </a:cxn>
              <a:cxn ang="0">
                <a:pos x="14" y="22"/>
              </a:cxn>
              <a:cxn ang="0">
                <a:pos x="13" y="23"/>
              </a:cxn>
              <a:cxn ang="0">
                <a:pos x="9" y="26"/>
              </a:cxn>
              <a:cxn ang="0">
                <a:pos x="9" y="28"/>
              </a:cxn>
              <a:cxn ang="0">
                <a:pos x="9" y="30"/>
              </a:cxn>
              <a:cxn ang="0">
                <a:pos x="22" y="43"/>
              </a:cxn>
              <a:cxn ang="0">
                <a:pos x="24" y="43"/>
              </a:cxn>
              <a:cxn ang="0">
                <a:pos x="26" y="43"/>
              </a:cxn>
              <a:cxn ang="0">
                <a:pos x="45" y="23"/>
              </a:cxn>
              <a:cxn ang="0">
                <a:pos x="46" y="22"/>
              </a:cxn>
              <a:cxn ang="0">
                <a:pos x="45" y="20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字魂58号-创中黑" panose="00000500000000000000" pitchFamily="2" charset="-122"/>
              <a:ea typeface="字魂58号-创中黑" panose="00000500000000000000" pitchFamily="2" charset="-122"/>
              <a:cs typeface="+mn-cs"/>
            </a:endParaRPr>
          </a:p>
        </p:txBody>
      </p:sp>
      <p:sp>
        <p:nvSpPr>
          <p:cNvPr id="7" name="Freeform 45"/>
          <p:cNvSpPr>
            <a:spLocks noEditPoints="1"/>
          </p:cNvSpPr>
          <p:nvPr/>
        </p:nvSpPr>
        <p:spPr bwMode="auto">
          <a:xfrm>
            <a:off x="7029350" y="4505198"/>
            <a:ext cx="414624" cy="414624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45" y="20"/>
              </a:cxn>
              <a:cxn ang="0">
                <a:pos x="42" y="17"/>
              </a:cxn>
              <a:cxn ang="0">
                <a:pos x="40" y="16"/>
              </a:cxn>
              <a:cxn ang="0">
                <a:pos x="38" y="17"/>
              </a:cxn>
              <a:cxn ang="0">
                <a:pos x="24" y="31"/>
              </a:cxn>
              <a:cxn ang="0">
                <a:pos x="16" y="23"/>
              </a:cxn>
              <a:cxn ang="0">
                <a:pos x="14" y="22"/>
              </a:cxn>
              <a:cxn ang="0">
                <a:pos x="13" y="23"/>
              </a:cxn>
              <a:cxn ang="0">
                <a:pos x="9" y="26"/>
              </a:cxn>
              <a:cxn ang="0">
                <a:pos x="9" y="28"/>
              </a:cxn>
              <a:cxn ang="0">
                <a:pos x="9" y="30"/>
              </a:cxn>
              <a:cxn ang="0">
                <a:pos x="22" y="43"/>
              </a:cxn>
              <a:cxn ang="0">
                <a:pos x="24" y="43"/>
              </a:cxn>
              <a:cxn ang="0">
                <a:pos x="26" y="43"/>
              </a:cxn>
              <a:cxn ang="0">
                <a:pos x="45" y="23"/>
              </a:cxn>
              <a:cxn ang="0">
                <a:pos x="46" y="22"/>
              </a:cxn>
              <a:cxn ang="0">
                <a:pos x="45" y="20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字魂58号-创中黑" panose="00000500000000000000" pitchFamily="2" charset="-122"/>
              <a:ea typeface="字魂58号-创中黑" panose="00000500000000000000" pitchFamily="2" charset="-122"/>
              <a:cs typeface="+mn-cs"/>
            </a:endParaRPr>
          </a:p>
        </p:txBody>
      </p:sp>
      <p:sp>
        <p:nvSpPr>
          <p:cNvPr id="3" name="平行四边形 2"/>
          <p:cNvSpPr/>
          <p:nvPr/>
        </p:nvSpPr>
        <p:spPr>
          <a:xfrm>
            <a:off x="787401" y="2120900"/>
            <a:ext cx="4584700" cy="3505767"/>
          </a:xfrm>
          <a:prstGeom prst="parallelogram">
            <a:avLst>
              <a:gd name="adj" fmla="val 0"/>
            </a:avLst>
          </a:prstGeom>
          <a:solidFill>
            <a:srgbClr val="486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7" name="Rectangle 18"/>
          <p:cNvSpPr/>
          <p:nvPr/>
        </p:nvSpPr>
        <p:spPr>
          <a:xfrm>
            <a:off x="7743508" y="1714674"/>
            <a:ext cx="2953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ibaba Sans" panose="020B0503020203040204" pitchFamily="34" charset="0"/>
                <a:ea typeface="+mn-ea"/>
                <a:cs typeface="Alibaba Sans" panose="020B0503020203040204" pitchFamily="34" charset="0"/>
              </a:rPr>
              <a:t>Personal Responsibility: Role and Responsibility in Social Harmony</a:t>
            </a:r>
          </a:p>
        </p:txBody>
      </p:sp>
      <p:sp>
        <p:nvSpPr>
          <p:cNvPr id="20" name="Rectangle 18"/>
          <p:cNvSpPr/>
          <p:nvPr/>
        </p:nvSpPr>
        <p:spPr>
          <a:xfrm>
            <a:off x="7743508" y="3090447"/>
            <a:ext cx="29960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ibaba Sans" panose="020B0503020203040204" pitchFamily="34" charset="0"/>
                <a:ea typeface="+mn-ea"/>
                <a:cs typeface="Alibaba Sans" panose="020B0503020203040204" pitchFamily="34" charset="0"/>
              </a:rPr>
              <a:t>Future outlook: expectations and hopes for future social harmony</a:t>
            </a:r>
          </a:p>
        </p:txBody>
      </p:sp>
      <p:sp>
        <p:nvSpPr>
          <p:cNvPr id="22" name="Rectangle 18"/>
          <p:cNvSpPr/>
          <p:nvPr/>
        </p:nvSpPr>
        <p:spPr>
          <a:xfrm rot="10800000" flipV="1">
            <a:off x="7722029" y="4420122"/>
            <a:ext cx="29960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ibaba Sans" panose="020B0503020203040204" pitchFamily="34" charset="0"/>
                <a:ea typeface="+mn-ea"/>
                <a:cs typeface="Alibaba Sans" panose="020B0503020203040204" pitchFamily="34" charset="0"/>
              </a:rPr>
              <a:t>Summary and Appeal: Jointly Building a Better Society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5591604" y="638218"/>
            <a:ext cx="303108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800" b="0" i="1" u="none" strike="noStrike" kern="1200" cap="none" spc="6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Part 04.</a:t>
            </a:r>
            <a:endParaRPr kumimoji="0" lang="zh-CN" altLang="en-US" sz="4800" b="0" i="1" u="none" strike="noStrike" kern="1200" cap="none" spc="6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Heavy" panose="02020900000000000000" pitchFamily="18" charset="-122"/>
              <a:ea typeface="思源宋体 CN Heavy" panose="02020900000000000000" pitchFamily="18" charset="-122"/>
              <a:cs typeface="+mn-cs"/>
            </a:endParaRPr>
          </a:p>
        </p:txBody>
      </p:sp>
      <p:pic>
        <p:nvPicPr>
          <p:cNvPr id="4" name="Picture 2" descr="美好社会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004" y="1796094"/>
            <a:ext cx="5439005" cy="362600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60000"/>
                <a:lumOff val="40000"/>
                <a:alpha val="79000"/>
              </a:schemeClr>
            </a:gs>
            <a:gs pos="50000">
              <a:schemeClr val="accent6">
                <a:lumMod val="60000"/>
                <a:lumOff val="40000"/>
                <a:alpha val="21000"/>
              </a:schemeClr>
            </a:gs>
            <a:gs pos="100000">
              <a:schemeClr val="accent6">
                <a:lumMod val="60000"/>
                <a:lumOff val="40000"/>
                <a:alpha val="64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组合 60"/>
          <p:cNvGrpSpPr/>
          <p:nvPr/>
        </p:nvGrpSpPr>
        <p:grpSpPr>
          <a:xfrm>
            <a:off x="1128712" y="619121"/>
            <a:ext cx="11063386" cy="6080583"/>
            <a:chOff x="1128712" y="619121"/>
            <a:chExt cx="11063386" cy="6080583"/>
          </a:xfrm>
        </p:grpSpPr>
        <p:grpSp>
          <p:nvGrpSpPr>
            <p:cNvPr id="58" name="组合 57"/>
            <p:cNvGrpSpPr/>
            <p:nvPr/>
          </p:nvGrpSpPr>
          <p:grpSpPr>
            <a:xfrm>
              <a:off x="1128712" y="619122"/>
              <a:ext cx="10501313" cy="6080582"/>
              <a:chOff x="1233487" y="876297"/>
              <a:chExt cx="10006385" cy="5906300"/>
            </a:xfrm>
          </p:grpSpPr>
          <p:sp>
            <p:nvSpPr>
              <p:cNvPr id="39" name="矩形 38"/>
              <p:cNvSpPr/>
              <p:nvPr/>
            </p:nvSpPr>
            <p:spPr>
              <a:xfrm>
                <a:off x="1233487" y="3427923"/>
                <a:ext cx="5175573" cy="274051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  <a:effectLst>
                <a:softEdge rad="635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1233487" y="876301"/>
                <a:ext cx="4587869" cy="274051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effectLst>
                <a:softEdge rad="635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矩形 41"/>
              <p:cNvSpPr/>
              <p:nvPr/>
            </p:nvSpPr>
            <p:spPr>
              <a:xfrm>
                <a:off x="1233487" y="6274375"/>
                <a:ext cx="5175573" cy="508222"/>
              </a:xfrm>
              <a:prstGeom prst="rect">
                <a:avLst/>
              </a:prstGeom>
              <a:ln>
                <a:noFill/>
              </a:ln>
              <a:effectLst>
                <a:softEdge rad="508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43" name="矩形 42"/>
              <p:cNvSpPr/>
              <p:nvPr/>
            </p:nvSpPr>
            <p:spPr>
              <a:xfrm>
                <a:off x="6111977" y="1601289"/>
                <a:ext cx="4708062" cy="291235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effectLst>
                <a:softEdge rad="762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44" name="矩形 43"/>
              <p:cNvSpPr/>
              <p:nvPr/>
            </p:nvSpPr>
            <p:spPr>
              <a:xfrm rot="10800000">
                <a:off x="8689696" y="4604852"/>
                <a:ext cx="2130343" cy="2081699"/>
              </a:xfrm>
              <a:prstGeom prst="rect">
                <a:avLst/>
              </a:prstGeom>
              <a:ln>
                <a:noFill/>
              </a:ln>
              <a:effectLst>
                <a:softEdge rad="889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矩形 45"/>
              <p:cNvSpPr/>
              <p:nvPr/>
            </p:nvSpPr>
            <p:spPr>
              <a:xfrm rot="10800000">
                <a:off x="5821356" y="876297"/>
                <a:ext cx="5418516" cy="569632"/>
              </a:xfrm>
              <a:prstGeom prst="rect">
                <a:avLst/>
              </a:prstGeom>
              <a:ln>
                <a:noFill/>
              </a:ln>
              <a:effectLst>
                <a:softEdge rad="889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50" name="文本框 49"/>
              <p:cNvSpPr txBox="1"/>
              <p:nvPr/>
            </p:nvSpPr>
            <p:spPr>
              <a:xfrm>
                <a:off x="1233487" y="936900"/>
                <a:ext cx="3412052" cy="5082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rPr>
                  <a:t>Regional</a:t>
                </a: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rPr>
                  <a:t>    discrimination</a:t>
                </a: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endParaRPr>
              </a:p>
            </p:txBody>
          </p:sp>
          <p:sp>
            <p:nvSpPr>
              <p:cNvPr id="52" name="文本框 51"/>
              <p:cNvSpPr txBox="1"/>
              <p:nvPr/>
            </p:nvSpPr>
            <p:spPr>
              <a:xfrm>
                <a:off x="8551222" y="5096738"/>
                <a:ext cx="2407290" cy="11659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rPr>
                  <a:t>Racial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rPr>
                  <a:t>discrimination</a:t>
                </a:r>
                <a:endPara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endParaRPr>
              </a:p>
            </p:txBody>
          </p:sp>
          <p:sp>
            <p:nvSpPr>
              <p:cNvPr id="45" name="矩形 44"/>
              <p:cNvSpPr/>
              <p:nvPr/>
            </p:nvSpPr>
            <p:spPr>
              <a:xfrm>
                <a:off x="6547535" y="4604852"/>
                <a:ext cx="1971733" cy="208169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effectLst>
                <a:softEdge rad="1016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sp>
          <p:nvSpPr>
            <p:cNvPr id="57" name="文本框 56"/>
            <p:cNvSpPr txBox="1"/>
            <p:nvPr/>
          </p:nvSpPr>
          <p:spPr>
            <a:xfrm>
              <a:off x="5943503" y="619121"/>
              <a:ext cx="624859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Discrimination against persons with </a:t>
              </a:r>
              <a:r>
                <a:rPr kumimoji="0" lang="en-US" altLang="zh-CN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disabilities</a:t>
              </a: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144036" y="6136376"/>
              <a:ext cx="556156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2000" b="1" dirty="0">
                  <a:solidFill>
                    <a:prstClr val="black"/>
                  </a:solidFill>
                  <a:latin typeface="等线" panose="02010600030101010101" charset="-122"/>
                  <a:ea typeface="等线" panose="02010600030101010101" charset="-122"/>
                </a:rPr>
                <a:t>Discrimination against </a:t>
              </a:r>
              <a:r>
                <a:rPr lang="en-US" altLang="zh-CN" sz="2800" b="1" dirty="0">
                  <a:solidFill>
                    <a:prstClr val="black"/>
                  </a:solidFill>
                  <a:latin typeface="等线" panose="02010600030101010101" charset="-122"/>
                  <a:ea typeface="等线" panose="02010600030101010101" charset="-122"/>
                </a:rPr>
                <a:t>special diseases</a:t>
              </a:r>
              <a:endParaRPr lang="zh-CN" altLang="en-US" sz="2000" b="1" dirty="0">
                <a:solidFill>
                  <a:prstClr val="black"/>
                </a:solidFill>
                <a:latin typeface="等线" panose="02010600030101010101" charset="-122"/>
                <a:ea typeface="等线" panose="02010600030101010101" charset="-122"/>
              </a:endParaRPr>
            </a:p>
          </p:txBody>
        </p:sp>
      </p:grpSp>
      <p:sp>
        <p:nvSpPr>
          <p:cNvPr id="62" name="矩形 61"/>
          <p:cNvSpPr/>
          <p:nvPr/>
        </p:nvSpPr>
        <p:spPr>
          <a:xfrm>
            <a:off x="331235" y="105357"/>
            <a:ext cx="3245468" cy="333052"/>
          </a:xfrm>
          <a:prstGeom prst="rect">
            <a:avLst/>
          </a:prstGeom>
          <a:solidFill>
            <a:srgbClr val="D284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432899" y="92061"/>
            <a:ext cx="30421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Respect others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libaba Sans" panose="020B0503020203040204" pitchFamily="34" charset="0"/>
              <a:ea typeface="等线" panose="02010600030101010101" charset="-122"/>
              <a:cs typeface="Alibaba Sans" panose="020B0503020203040204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60000"/>
                <a:lumOff val="40000"/>
                <a:alpha val="79000"/>
              </a:schemeClr>
            </a:gs>
            <a:gs pos="50000">
              <a:schemeClr val="accent6">
                <a:lumMod val="60000"/>
                <a:lumOff val="40000"/>
                <a:alpha val="21000"/>
              </a:schemeClr>
            </a:gs>
            <a:gs pos="100000">
              <a:schemeClr val="accent6">
                <a:lumMod val="60000"/>
                <a:lumOff val="40000"/>
                <a:alpha val="64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美好未来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219" y="157311"/>
            <a:ext cx="2866387" cy="1912949"/>
          </a:xfrm>
          <a:prstGeom prst="rect">
            <a:avLst/>
          </a:prstGeom>
          <a:noFill/>
          <a:effectLst>
            <a:softEdge rad="165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社会福利 的图像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5220" y="3918052"/>
            <a:ext cx="2431248" cy="2046038"/>
          </a:xfrm>
          <a:prstGeom prst="rect">
            <a:avLst/>
          </a:prstGeom>
          <a:noFill/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/>
          <p:cNvSpPr/>
          <p:nvPr/>
        </p:nvSpPr>
        <p:spPr>
          <a:xfrm>
            <a:off x="0" y="-5982"/>
            <a:ext cx="3581400" cy="61161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Future outlook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" name="椭圆 2"/>
          <p:cNvSpPr/>
          <p:nvPr/>
        </p:nvSpPr>
        <p:spPr>
          <a:xfrm>
            <a:off x="865646" y="686163"/>
            <a:ext cx="2307479" cy="914400"/>
          </a:xfrm>
          <a:prstGeom prst="ellipse">
            <a:avLst/>
          </a:prstGeom>
          <a:ln>
            <a:noFill/>
          </a:ln>
          <a:effectLst>
            <a:softEdge rad="88900"/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strengthen education</a:t>
            </a:r>
            <a:endParaRPr lang="zh-CN" altLang="en-US" dirty="0"/>
          </a:p>
        </p:txBody>
      </p:sp>
      <p:sp>
        <p:nvSpPr>
          <p:cNvPr id="4" name="椭圆 3"/>
          <p:cNvSpPr/>
          <p:nvPr/>
        </p:nvSpPr>
        <p:spPr>
          <a:xfrm>
            <a:off x="4998102" y="605637"/>
            <a:ext cx="3025147" cy="1050768"/>
          </a:xfrm>
          <a:prstGeom prst="ellipse">
            <a:avLst/>
          </a:prstGeom>
          <a:ln>
            <a:noFill/>
          </a:ln>
          <a:effectLst>
            <a:softEdge rad="63500"/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Cultivate students' sense of social responsibility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1774918" y="3055660"/>
            <a:ext cx="2796414" cy="1251929"/>
          </a:xfrm>
          <a:prstGeom prst="ellipse">
            <a:avLst/>
          </a:prstGeom>
          <a:ln>
            <a:noFill/>
          </a:ln>
          <a:effectLst>
            <a:softEdge rad="76200"/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Increase investment from government and enterprises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6" name="椭圆 5"/>
          <p:cNvSpPr/>
          <p:nvPr/>
        </p:nvSpPr>
        <p:spPr>
          <a:xfrm>
            <a:off x="5676900" y="2950169"/>
            <a:ext cx="3269901" cy="1442174"/>
          </a:xfrm>
          <a:prstGeom prst="ellipse">
            <a:avLst/>
          </a:prstGeom>
          <a:effectLst>
            <a:softEdge rad="50800"/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Environmental protection and social welfare undertakings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7" name="椭圆 6"/>
          <p:cNvSpPr/>
          <p:nvPr/>
        </p:nvSpPr>
        <p:spPr>
          <a:xfrm>
            <a:off x="3042235" y="5730096"/>
            <a:ext cx="2634665" cy="959645"/>
          </a:xfrm>
          <a:prstGeom prst="ellipse">
            <a:avLst/>
          </a:prstGeom>
          <a:ln>
            <a:noFill/>
          </a:ln>
          <a:effectLst>
            <a:softEdge rad="50800"/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Lead by example(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以身作则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)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8" name="椭圆 7"/>
          <p:cNvSpPr/>
          <p:nvPr/>
        </p:nvSpPr>
        <p:spPr>
          <a:xfrm>
            <a:off x="7037237" y="5643663"/>
            <a:ext cx="2634666" cy="1108839"/>
          </a:xfrm>
          <a:prstGeom prst="ellipse">
            <a:avLst/>
          </a:prstGeom>
          <a:ln>
            <a:noFill/>
          </a:ln>
          <a:effectLst>
            <a:softEdge rad="215900"/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Actively fulfilling personal responsibilities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1" name="泪滴形 10"/>
          <p:cNvSpPr/>
          <p:nvPr/>
        </p:nvSpPr>
        <p:spPr>
          <a:xfrm rot="18942294">
            <a:off x="9805551" y="2651389"/>
            <a:ext cx="2035408" cy="2060468"/>
          </a:xfrm>
          <a:prstGeom prst="teardrop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cxnSp>
        <p:nvCxnSpPr>
          <p:cNvPr id="13" name="直接箭头连接符 12"/>
          <p:cNvCxnSpPr>
            <a:stCxn id="4" idx="6"/>
            <a:endCxn id="11" idx="6"/>
          </p:cNvCxnSpPr>
          <p:nvPr/>
        </p:nvCxnSpPr>
        <p:spPr>
          <a:xfrm>
            <a:off x="8023249" y="1131021"/>
            <a:ext cx="2080538" cy="18132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>
            <a:stCxn id="6" idx="6"/>
            <a:endCxn id="11" idx="5"/>
          </p:cNvCxnSpPr>
          <p:nvPr/>
        </p:nvCxnSpPr>
        <p:spPr>
          <a:xfrm flipV="1">
            <a:off x="8946801" y="3662761"/>
            <a:ext cx="852640" cy="84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>
            <a:stCxn id="8" idx="6"/>
            <a:endCxn id="11" idx="4"/>
          </p:cNvCxnSpPr>
          <p:nvPr/>
        </p:nvCxnSpPr>
        <p:spPr>
          <a:xfrm flipV="1">
            <a:off x="9671903" y="4392341"/>
            <a:ext cx="422928" cy="1805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10173059" y="3194202"/>
            <a:ext cx="17244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A bet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 future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cxnSp>
        <p:nvCxnSpPr>
          <p:cNvPr id="32" name="直接箭头连接符 31"/>
          <p:cNvCxnSpPr>
            <a:stCxn id="3" idx="6"/>
            <a:endCxn id="4" idx="2"/>
          </p:cNvCxnSpPr>
          <p:nvPr/>
        </p:nvCxnSpPr>
        <p:spPr>
          <a:xfrm flipV="1">
            <a:off x="3173125" y="1131021"/>
            <a:ext cx="1824977" cy="12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>
            <a:stCxn id="5" idx="6"/>
            <a:endCxn id="6" idx="2"/>
          </p:cNvCxnSpPr>
          <p:nvPr/>
        </p:nvCxnSpPr>
        <p:spPr>
          <a:xfrm flipV="1">
            <a:off x="4571332" y="3671256"/>
            <a:ext cx="1105568" cy="10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7" idx="6"/>
            <a:endCxn id="8" idx="2"/>
          </p:cNvCxnSpPr>
          <p:nvPr/>
        </p:nvCxnSpPr>
        <p:spPr>
          <a:xfrm flipV="1">
            <a:off x="5676900" y="6198083"/>
            <a:ext cx="1360337" cy="118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教育 的图像结果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637" y="1282699"/>
            <a:ext cx="2307479" cy="1595543"/>
          </a:xfrm>
          <a:prstGeom prst="rect">
            <a:avLst/>
          </a:prstGeom>
          <a:noFill/>
          <a:effectLst>
            <a:softEdge rad="1143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以身作则 的图像结果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306" y="4320581"/>
            <a:ext cx="3210541" cy="2796278"/>
          </a:xfrm>
          <a:prstGeom prst="rect">
            <a:avLst/>
          </a:prstGeom>
          <a:noFill/>
          <a:effectLst>
            <a:softEdge rad="444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11" grpId="0" animBg="1"/>
      <p:bldP spid="1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60000"/>
                <a:lumOff val="40000"/>
                <a:alpha val="79000"/>
              </a:schemeClr>
            </a:gs>
            <a:gs pos="50000">
              <a:schemeClr val="accent6">
                <a:lumMod val="60000"/>
                <a:lumOff val="40000"/>
                <a:alpha val="21000"/>
              </a:schemeClr>
            </a:gs>
            <a:gs pos="100000">
              <a:schemeClr val="accent6">
                <a:lumMod val="60000"/>
                <a:lumOff val="40000"/>
                <a:alpha val="64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2" name="组合 4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282235" y="424114"/>
            <a:ext cx="4257676" cy="4433887"/>
            <a:chOff x="3967162" y="1212057"/>
            <a:chExt cx="4257676" cy="4433887"/>
          </a:xfrm>
        </p:grpSpPr>
        <p:sp>
          <p:nvSpPr>
            <p:cNvPr id="443" name="ïṡḷïde"/>
            <p:cNvSpPr/>
            <p:nvPr/>
          </p:nvSpPr>
          <p:spPr bwMode="auto">
            <a:xfrm>
              <a:off x="4441825" y="1778794"/>
              <a:ext cx="3311525" cy="3303588"/>
            </a:xfrm>
            <a:prstGeom prst="ellipse">
              <a:avLst/>
            </a:prstGeom>
            <a:solidFill>
              <a:srgbClr val="24BC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íŝ1ïdê"/>
            <p:cNvSpPr/>
            <p:nvPr/>
          </p:nvSpPr>
          <p:spPr bwMode="auto">
            <a:xfrm>
              <a:off x="4448175" y="1858169"/>
              <a:ext cx="2781300" cy="1943100"/>
            </a:xfrm>
            <a:custGeom>
              <a:avLst/>
              <a:gdLst>
                <a:gd name="T0" fmla="*/ 70 w 843"/>
                <a:gd name="T1" fmla="*/ 475 h 590"/>
                <a:gd name="T2" fmla="*/ 93 w 843"/>
                <a:gd name="T3" fmla="*/ 416 h 590"/>
                <a:gd name="T4" fmla="*/ 62 w 843"/>
                <a:gd name="T5" fmla="*/ 381 h 590"/>
                <a:gd name="T6" fmla="*/ 136 w 843"/>
                <a:gd name="T7" fmla="*/ 418 h 590"/>
                <a:gd name="T8" fmla="*/ 192 w 843"/>
                <a:gd name="T9" fmla="*/ 448 h 590"/>
                <a:gd name="T10" fmla="*/ 225 w 843"/>
                <a:gd name="T11" fmla="*/ 527 h 590"/>
                <a:gd name="T12" fmla="*/ 284 w 843"/>
                <a:gd name="T13" fmla="*/ 458 h 590"/>
                <a:gd name="T14" fmla="*/ 335 w 843"/>
                <a:gd name="T15" fmla="*/ 492 h 590"/>
                <a:gd name="T16" fmla="*/ 360 w 843"/>
                <a:gd name="T17" fmla="*/ 529 h 590"/>
                <a:gd name="T18" fmla="*/ 390 w 843"/>
                <a:gd name="T19" fmla="*/ 583 h 590"/>
                <a:gd name="T20" fmla="*/ 386 w 843"/>
                <a:gd name="T21" fmla="*/ 520 h 590"/>
                <a:gd name="T22" fmla="*/ 413 w 843"/>
                <a:gd name="T23" fmla="*/ 460 h 590"/>
                <a:gd name="T24" fmla="*/ 472 w 843"/>
                <a:gd name="T25" fmla="*/ 444 h 590"/>
                <a:gd name="T26" fmla="*/ 496 w 843"/>
                <a:gd name="T27" fmla="*/ 380 h 590"/>
                <a:gd name="T28" fmla="*/ 482 w 843"/>
                <a:gd name="T29" fmla="*/ 347 h 590"/>
                <a:gd name="T30" fmla="*/ 501 w 843"/>
                <a:gd name="T31" fmla="*/ 338 h 590"/>
                <a:gd name="T32" fmla="*/ 532 w 843"/>
                <a:gd name="T33" fmla="*/ 363 h 590"/>
                <a:gd name="T34" fmla="*/ 562 w 843"/>
                <a:gd name="T35" fmla="*/ 306 h 590"/>
                <a:gd name="T36" fmla="*/ 603 w 843"/>
                <a:gd name="T37" fmla="*/ 221 h 590"/>
                <a:gd name="T38" fmla="*/ 638 w 843"/>
                <a:gd name="T39" fmla="*/ 173 h 590"/>
                <a:gd name="T40" fmla="*/ 721 w 843"/>
                <a:gd name="T41" fmla="*/ 150 h 590"/>
                <a:gd name="T42" fmla="*/ 747 w 843"/>
                <a:gd name="T43" fmla="*/ 143 h 590"/>
                <a:gd name="T44" fmla="*/ 703 w 843"/>
                <a:gd name="T45" fmla="*/ 201 h 590"/>
                <a:gd name="T46" fmla="*/ 737 w 843"/>
                <a:gd name="T47" fmla="*/ 205 h 590"/>
                <a:gd name="T48" fmla="*/ 754 w 843"/>
                <a:gd name="T49" fmla="*/ 162 h 590"/>
                <a:gd name="T50" fmla="*/ 825 w 843"/>
                <a:gd name="T51" fmla="*/ 141 h 590"/>
                <a:gd name="T52" fmla="*/ 819 w 843"/>
                <a:gd name="T53" fmla="*/ 118 h 590"/>
                <a:gd name="T54" fmla="*/ 801 w 843"/>
                <a:gd name="T55" fmla="*/ 76 h 590"/>
                <a:gd name="T56" fmla="*/ 750 w 843"/>
                <a:gd name="T57" fmla="*/ 81 h 590"/>
                <a:gd name="T58" fmla="*/ 682 w 843"/>
                <a:gd name="T59" fmla="*/ 70 h 590"/>
                <a:gd name="T60" fmla="*/ 629 w 843"/>
                <a:gd name="T61" fmla="*/ 63 h 590"/>
                <a:gd name="T62" fmla="*/ 592 w 843"/>
                <a:gd name="T63" fmla="*/ 68 h 590"/>
                <a:gd name="T64" fmla="*/ 532 w 843"/>
                <a:gd name="T65" fmla="*/ 58 h 590"/>
                <a:gd name="T66" fmla="*/ 484 w 843"/>
                <a:gd name="T67" fmla="*/ 48 h 590"/>
                <a:gd name="T68" fmla="*/ 438 w 843"/>
                <a:gd name="T69" fmla="*/ 35 h 590"/>
                <a:gd name="T70" fmla="*/ 439 w 843"/>
                <a:gd name="T71" fmla="*/ 38 h 590"/>
                <a:gd name="T72" fmla="*/ 435 w 843"/>
                <a:gd name="T73" fmla="*/ 46 h 590"/>
                <a:gd name="T74" fmla="*/ 430 w 843"/>
                <a:gd name="T75" fmla="*/ 15 h 590"/>
                <a:gd name="T76" fmla="*/ 389 w 843"/>
                <a:gd name="T77" fmla="*/ 19 h 590"/>
                <a:gd name="T78" fmla="*/ 309 w 843"/>
                <a:gd name="T79" fmla="*/ 44 h 590"/>
                <a:gd name="T80" fmla="*/ 288 w 843"/>
                <a:gd name="T81" fmla="*/ 67 h 590"/>
                <a:gd name="T82" fmla="*/ 251 w 843"/>
                <a:gd name="T83" fmla="*/ 54 h 590"/>
                <a:gd name="T84" fmla="*/ 241 w 843"/>
                <a:gd name="T85" fmla="*/ 50 h 590"/>
                <a:gd name="T86" fmla="*/ 259 w 843"/>
                <a:gd name="T87" fmla="*/ 102 h 590"/>
                <a:gd name="T88" fmla="*/ 222 w 843"/>
                <a:gd name="T89" fmla="*/ 106 h 590"/>
                <a:gd name="T90" fmla="*/ 219 w 843"/>
                <a:gd name="T91" fmla="*/ 99 h 590"/>
                <a:gd name="T92" fmla="*/ 201 w 843"/>
                <a:gd name="T93" fmla="*/ 74 h 590"/>
                <a:gd name="T94" fmla="*/ 191 w 843"/>
                <a:gd name="T95" fmla="*/ 82 h 590"/>
                <a:gd name="T96" fmla="*/ 124 w 843"/>
                <a:gd name="T97" fmla="*/ 287 h 590"/>
                <a:gd name="T98" fmla="*/ 80 w 843"/>
                <a:gd name="T99" fmla="*/ 272 h 590"/>
                <a:gd name="T100" fmla="*/ 90 w 843"/>
                <a:gd name="T101" fmla="*/ 305 h 590"/>
                <a:gd name="T102" fmla="*/ 74 w 843"/>
                <a:gd name="T103" fmla="*/ 335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3" h="590">
                  <a:moveTo>
                    <a:pt x="9" y="451"/>
                  </a:moveTo>
                  <a:cubicBezTo>
                    <a:pt x="14" y="456"/>
                    <a:pt x="17" y="461"/>
                    <a:pt x="18" y="468"/>
                  </a:cubicBezTo>
                  <a:cubicBezTo>
                    <a:pt x="18" y="472"/>
                    <a:pt x="19" y="477"/>
                    <a:pt x="21" y="482"/>
                  </a:cubicBezTo>
                  <a:cubicBezTo>
                    <a:pt x="23" y="488"/>
                    <a:pt x="27" y="489"/>
                    <a:pt x="33" y="487"/>
                  </a:cubicBezTo>
                  <a:cubicBezTo>
                    <a:pt x="45" y="483"/>
                    <a:pt x="58" y="480"/>
                    <a:pt x="70" y="475"/>
                  </a:cubicBezTo>
                  <a:cubicBezTo>
                    <a:pt x="85" y="470"/>
                    <a:pt x="100" y="465"/>
                    <a:pt x="109" y="452"/>
                  </a:cubicBezTo>
                  <a:cubicBezTo>
                    <a:pt x="112" y="449"/>
                    <a:pt x="113" y="445"/>
                    <a:pt x="116" y="442"/>
                  </a:cubicBezTo>
                  <a:cubicBezTo>
                    <a:pt x="121" y="437"/>
                    <a:pt x="118" y="435"/>
                    <a:pt x="113" y="431"/>
                  </a:cubicBezTo>
                  <a:cubicBezTo>
                    <a:pt x="108" y="428"/>
                    <a:pt x="101" y="424"/>
                    <a:pt x="99" y="418"/>
                  </a:cubicBezTo>
                  <a:cubicBezTo>
                    <a:pt x="98" y="413"/>
                    <a:pt x="97" y="413"/>
                    <a:pt x="93" y="416"/>
                  </a:cubicBezTo>
                  <a:cubicBezTo>
                    <a:pt x="89" y="421"/>
                    <a:pt x="83" y="423"/>
                    <a:pt x="77" y="424"/>
                  </a:cubicBezTo>
                  <a:cubicBezTo>
                    <a:pt x="74" y="425"/>
                    <a:pt x="70" y="425"/>
                    <a:pt x="68" y="421"/>
                  </a:cubicBezTo>
                  <a:cubicBezTo>
                    <a:pt x="62" y="410"/>
                    <a:pt x="57" y="399"/>
                    <a:pt x="50" y="389"/>
                  </a:cubicBezTo>
                  <a:cubicBezTo>
                    <a:pt x="48" y="386"/>
                    <a:pt x="45" y="383"/>
                    <a:pt x="49" y="380"/>
                  </a:cubicBezTo>
                  <a:cubicBezTo>
                    <a:pt x="53" y="377"/>
                    <a:pt x="58" y="378"/>
                    <a:pt x="62" y="381"/>
                  </a:cubicBezTo>
                  <a:cubicBezTo>
                    <a:pt x="64" y="383"/>
                    <a:pt x="66" y="385"/>
                    <a:pt x="67" y="388"/>
                  </a:cubicBezTo>
                  <a:cubicBezTo>
                    <a:pt x="74" y="399"/>
                    <a:pt x="84" y="405"/>
                    <a:pt x="98" y="404"/>
                  </a:cubicBezTo>
                  <a:cubicBezTo>
                    <a:pt x="101" y="404"/>
                    <a:pt x="103" y="405"/>
                    <a:pt x="105" y="407"/>
                  </a:cubicBezTo>
                  <a:cubicBezTo>
                    <a:pt x="107" y="412"/>
                    <a:pt x="112" y="414"/>
                    <a:pt x="118" y="416"/>
                  </a:cubicBezTo>
                  <a:cubicBezTo>
                    <a:pt x="124" y="417"/>
                    <a:pt x="130" y="417"/>
                    <a:pt x="136" y="418"/>
                  </a:cubicBezTo>
                  <a:cubicBezTo>
                    <a:pt x="144" y="420"/>
                    <a:pt x="154" y="418"/>
                    <a:pt x="160" y="424"/>
                  </a:cubicBezTo>
                  <a:cubicBezTo>
                    <a:pt x="167" y="429"/>
                    <a:pt x="174" y="434"/>
                    <a:pt x="182" y="438"/>
                  </a:cubicBezTo>
                  <a:cubicBezTo>
                    <a:pt x="185" y="439"/>
                    <a:pt x="188" y="441"/>
                    <a:pt x="184" y="442"/>
                  </a:cubicBezTo>
                  <a:cubicBezTo>
                    <a:pt x="180" y="444"/>
                    <a:pt x="180" y="446"/>
                    <a:pt x="183" y="448"/>
                  </a:cubicBezTo>
                  <a:cubicBezTo>
                    <a:pt x="187" y="451"/>
                    <a:pt x="190" y="451"/>
                    <a:pt x="192" y="448"/>
                  </a:cubicBezTo>
                  <a:cubicBezTo>
                    <a:pt x="193" y="446"/>
                    <a:pt x="193" y="443"/>
                    <a:pt x="195" y="444"/>
                  </a:cubicBezTo>
                  <a:cubicBezTo>
                    <a:pt x="198" y="444"/>
                    <a:pt x="198" y="447"/>
                    <a:pt x="199" y="450"/>
                  </a:cubicBezTo>
                  <a:cubicBezTo>
                    <a:pt x="200" y="453"/>
                    <a:pt x="200" y="457"/>
                    <a:pt x="200" y="460"/>
                  </a:cubicBezTo>
                  <a:cubicBezTo>
                    <a:pt x="200" y="466"/>
                    <a:pt x="200" y="472"/>
                    <a:pt x="203" y="478"/>
                  </a:cubicBezTo>
                  <a:cubicBezTo>
                    <a:pt x="209" y="495"/>
                    <a:pt x="216" y="511"/>
                    <a:pt x="225" y="527"/>
                  </a:cubicBezTo>
                  <a:cubicBezTo>
                    <a:pt x="227" y="530"/>
                    <a:pt x="230" y="534"/>
                    <a:pt x="232" y="537"/>
                  </a:cubicBezTo>
                  <a:cubicBezTo>
                    <a:pt x="233" y="537"/>
                    <a:pt x="234" y="536"/>
                    <a:pt x="234" y="536"/>
                  </a:cubicBezTo>
                  <a:cubicBezTo>
                    <a:pt x="242" y="525"/>
                    <a:pt x="244" y="512"/>
                    <a:pt x="243" y="499"/>
                  </a:cubicBezTo>
                  <a:cubicBezTo>
                    <a:pt x="243" y="494"/>
                    <a:pt x="245" y="490"/>
                    <a:pt x="250" y="487"/>
                  </a:cubicBezTo>
                  <a:cubicBezTo>
                    <a:pt x="263" y="479"/>
                    <a:pt x="274" y="470"/>
                    <a:pt x="284" y="458"/>
                  </a:cubicBezTo>
                  <a:cubicBezTo>
                    <a:pt x="287" y="454"/>
                    <a:pt x="291" y="452"/>
                    <a:pt x="296" y="452"/>
                  </a:cubicBezTo>
                  <a:cubicBezTo>
                    <a:pt x="301" y="452"/>
                    <a:pt x="305" y="451"/>
                    <a:pt x="308" y="449"/>
                  </a:cubicBezTo>
                  <a:cubicBezTo>
                    <a:pt x="310" y="448"/>
                    <a:pt x="313" y="447"/>
                    <a:pt x="314" y="449"/>
                  </a:cubicBezTo>
                  <a:cubicBezTo>
                    <a:pt x="321" y="461"/>
                    <a:pt x="335" y="470"/>
                    <a:pt x="332" y="485"/>
                  </a:cubicBezTo>
                  <a:cubicBezTo>
                    <a:pt x="332" y="488"/>
                    <a:pt x="332" y="490"/>
                    <a:pt x="335" y="492"/>
                  </a:cubicBezTo>
                  <a:cubicBezTo>
                    <a:pt x="338" y="493"/>
                    <a:pt x="340" y="491"/>
                    <a:pt x="342" y="490"/>
                  </a:cubicBezTo>
                  <a:cubicBezTo>
                    <a:pt x="344" y="489"/>
                    <a:pt x="345" y="489"/>
                    <a:pt x="346" y="488"/>
                  </a:cubicBezTo>
                  <a:cubicBezTo>
                    <a:pt x="349" y="485"/>
                    <a:pt x="351" y="486"/>
                    <a:pt x="352" y="490"/>
                  </a:cubicBezTo>
                  <a:cubicBezTo>
                    <a:pt x="354" y="499"/>
                    <a:pt x="357" y="507"/>
                    <a:pt x="359" y="516"/>
                  </a:cubicBezTo>
                  <a:cubicBezTo>
                    <a:pt x="360" y="520"/>
                    <a:pt x="360" y="525"/>
                    <a:pt x="360" y="529"/>
                  </a:cubicBezTo>
                  <a:cubicBezTo>
                    <a:pt x="359" y="537"/>
                    <a:pt x="359" y="545"/>
                    <a:pt x="364" y="551"/>
                  </a:cubicBezTo>
                  <a:cubicBezTo>
                    <a:pt x="367" y="555"/>
                    <a:pt x="368" y="558"/>
                    <a:pt x="369" y="562"/>
                  </a:cubicBezTo>
                  <a:cubicBezTo>
                    <a:pt x="372" y="571"/>
                    <a:pt x="377" y="579"/>
                    <a:pt x="384" y="586"/>
                  </a:cubicBezTo>
                  <a:cubicBezTo>
                    <a:pt x="385" y="587"/>
                    <a:pt x="387" y="590"/>
                    <a:pt x="389" y="588"/>
                  </a:cubicBezTo>
                  <a:cubicBezTo>
                    <a:pt x="391" y="587"/>
                    <a:pt x="390" y="585"/>
                    <a:pt x="390" y="583"/>
                  </a:cubicBezTo>
                  <a:cubicBezTo>
                    <a:pt x="389" y="566"/>
                    <a:pt x="373" y="555"/>
                    <a:pt x="365" y="541"/>
                  </a:cubicBezTo>
                  <a:cubicBezTo>
                    <a:pt x="363" y="538"/>
                    <a:pt x="362" y="535"/>
                    <a:pt x="362" y="532"/>
                  </a:cubicBezTo>
                  <a:cubicBezTo>
                    <a:pt x="363" y="528"/>
                    <a:pt x="365" y="525"/>
                    <a:pt x="366" y="521"/>
                  </a:cubicBezTo>
                  <a:cubicBezTo>
                    <a:pt x="367" y="518"/>
                    <a:pt x="369" y="515"/>
                    <a:pt x="373" y="516"/>
                  </a:cubicBezTo>
                  <a:cubicBezTo>
                    <a:pt x="378" y="516"/>
                    <a:pt x="385" y="516"/>
                    <a:pt x="386" y="520"/>
                  </a:cubicBezTo>
                  <a:cubicBezTo>
                    <a:pt x="389" y="528"/>
                    <a:pt x="400" y="532"/>
                    <a:pt x="398" y="544"/>
                  </a:cubicBezTo>
                  <a:cubicBezTo>
                    <a:pt x="406" y="538"/>
                    <a:pt x="412" y="533"/>
                    <a:pt x="418" y="529"/>
                  </a:cubicBezTo>
                  <a:cubicBezTo>
                    <a:pt x="422" y="527"/>
                    <a:pt x="423" y="524"/>
                    <a:pt x="423" y="519"/>
                  </a:cubicBezTo>
                  <a:cubicBezTo>
                    <a:pt x="422" y="507"/>
                    <a:pt x="419" y="495"/>
                    <a:pt x="410" y="484"/>
                  </a:cubicBezTo>
                  <a:cubicBezTo>
                    <a:pt x="399" y="471"/>
                    <a:pt x="399" y="471"/>
                    <a:pt x="413" y="460"/>
                  </a:cubicBezTo>
                  <a:cubicBezTo>
                    <a:pt x="414" y="460"/>
                    <a:pt x="414" y="460"/>
                    <a:pt x="414" y="460"/>
                  </a:cubicBezTo>
                  <a:cubicBezTo>
                    <a:pt x="416" y="458"/>
                    <a:pt x="419" y="457"/>
                    <a:pt x="423" y="460"/>
                  </a:cubicBezTo>
                  <a:cubicBezTo>
                    <a:pt x="424" y="460"/>
                    <a:pt x="425" y="463"/>
                    <a:pt x="428" y="461"/>
                  </a:cubicBezTo>
                  <a:cubicBezTo>
                    <a:pt x="436" y="455"/>
                    <a:pt x="445" y="453"/>
                    <a:pt x="454" y="451"/>
                  </a:cubicBezTo>
                  <a:cubicBezTo>
                    <a:pt x="461" y="450"/>
                    <a:pt x="467" y="447"/>
                    <a:pt x="472" y="444"/>
                  </a:cubicBezTo>
                  <a:cubicBezTo>
                    <a:pt x="485" y="435"/>
                    <a:pt x="490" y="421"/>
                    <a:pt x="499" y="409"/>
                  </a:cubicBezTo>
                  <a:cubicBezTo>
                    <a:pt x="501" y="408"/>
                    <a:pt x="501" y="404"/>
                    <a:pt x="499" y="403"/>
                  </a:cubicBezTo>
                  <a:cubicBezTo>
                    <a:pt x="492" y="400"/>
                    <a:pt x="496" y="398"/>
                    <a:pt x="499" y="395"/>
                  </a:cubicBezTo>
                  <a:cubicBezTo>
                    <a:pt x="497" y="392"/>
                    <a:pt x="489" y="393"/>
                    <a:pt x="495" y="389"/>
                  </a:cubicBezTo>
                  <a:cubicBezTo>
                    <a:pt x="499" y="385"/>
                    <a:pt x="498" y="383"/>
                    <a:pt x="496" y="380"/>
                  </a:cubicBezTo>
                  <a:cubicBezTo>
                    <a:pt x="494" y="378"/>
                    <a:pt x="492" y="375"/>
                    <a:pt x="490" y="373"/>
                  </a:cubicBezTo>
                  <a:cubicBezTo>
                    <a:pt x="486" y="368"/>
                    <a:pt x="488" y="363"/>
                    <a:pt x="492" y="358"/>
                  </a:cubicBezTo>
                  <a:cubicBezTo>
                    <a:pt x="496" y="355"/>
                    <a:pt x="500" y="353"/>
                    <a:pt x="506" y="350"/>
                  </a:cubicBezTo>
                  <a:cubicBezTo>
                    <a:pt x="504" y="349"/>
                    <a:pt x="501" y="349"/>
                    <a:pt x="498" y="349"/>
                  </a:cubicBezTo>
                  <a:cubicBezTo>
                    <a:pt x="493" y="349"/>
                    <a:pt x="487" y="350"/>
                    <a:pt x="482" y="347"/>
                  </a:cubicBezTo>
                  <a:cubicBezTo>
                    <a:pt x="476" y="345"/>
                    <a:pt x="475" y="341"/>
                    <a:pt x="479" y="337"/>
                  </a:cubicBezTo>
                  <a:cubicBezTo>
                    <a:pt x="484" y="331"/>
                    <a:pt x="491" y="327"/>
                    <a:pt x="498" y="325"/>
                  </a:cubicBezTo>
                  <a:cubicBezTo>
                    <a:pt x="500" y="324"/>
                    <a:pt x="502" y="324"/>
                    <a:pt x="504" y="325"/>
                  </a:cubicBezTo>
                  <a:cubicBezTo>
                    <a:pt x="505" y="327"/>
                    <a:pt x="504" y="329"/>
                    <a:pt x="503" y="330"/>
                  </a:cubicBezTo>
                  <a:cubicBezTo>
                    <a:pt x="502" y="333"/>
                    <a:pt x="499" y="335"/>
                    <a:pt x="501" y="338"/>
                  </a:cubicBezTo>
                  <a:cubicBezTo>
                    <a:pt x="503" y="337"/>
                    <a:pt x="504" y="335"/>
                    <a:pt x="506" y="333"/>
                  </a:cubicBezTo>
                  <a:cubicBezTo>
                    <a:pt x="510" y="329"/>
                    <a:pt x="516" y="331"/>
                    <a:pt x="521" y="332"/>
                  </a:cubicBezTo>
                  <a:cubicBezTo>
                    <a:pt x="525" y="334"/>
                    <a:pt x="525" y="337"/>
                    <a:pt x="524" y="340"/>
                  </a:cubicBezTo>
                  <a:cubicBezTo>
                    <a:pt x="523" y="342"/>
                    <a:pt x="523" y="344"/>
                    <a:pt x="525" y="345"/>
                  </a:cubicBezTo>
                  <a:cubicBezTo>
                    <a:pt x="533" y="349"/>
                    <a:pt x="533" y="356"/>
                    <a:pt x="532" y="363"/>
                  </a:cubicBezTo>
                  <a:cubicBezTo>
                    <a:pt x="532" y="365"/>
                    <a:pt x="532" y="367"/>
                    <a:pt x="536" y="367"/>
                  </a:cubicBezTo>
                  <a:cubicBezTo>
                    <a:pt x="543" y="366"/>
                    <a:pt x="548" y="360"/>
                    <a:pt x="546" y="354"/>
                  </a:cubicBezTo>
                  <a:cubicBezTo>
                    <a:pt x="544" y="348"/>
                    <a:pt x="541" y="342"/>
                    <a:pt x="539" y="336"/>
                  </a:cubicBezTo>
                  <a:cubicBezTo>
                    <a:pt x="538" y="334"/>
                    <a:pt x="536" y="332"/>
                    <a:pt x="539" y="330"/>
                  </a:cubicBezTo>
                  <a:cubicBezTo>
                    <a:pt x="547" y="322"/>
                    <a:pt x="554" y="314"/>
                    <a:pt x="562" y="306"/>
                  </a:cubicBezTo>
                  <a:cubicBezTo>
                    <a:pt x="564" y="305"/>
                    <a:pt x="566" y="303"/>
                    <a:pt x="568" y="304"/>
                  </a:cubicBezTo>
                  <a:cubicBezTo>
                    <a:pt x="575" y="309"/>
                    <a:pt x="580" y="304"/>
                    <a:pt x="584" y="300"/>
                  </a:cubicBezTo>
                  <a:cubicBezTo>
                    <a:pt x="593" y="292"/>
                    <a:pt x="600" y="283"/>
                    <a:pt x="605" y="273"/>
                  </a:cubicBezTo>
                  <a:cubicBezTo>
                    <a:pt x="614" y="260"/>
                    <a:pt x="618" y="245"/>
                    <a:pt x="616" y="229"/>
                  </a:cubicBezTo>
                  <a:cubicBezTo>
                    <a:pt x="615" y="221"/>
                    <a:pt x="610" y="218"/>
                    <a:pt x="603" y="221"/>
                  </a:cubicBezTo>
                  <a:cubicBezTo>
                    <a:pt x="599" y="223"/>
                    <a:pt x="595" y="224"/>
                    <a:pt x="592" y="220"/>
                  </a:cubicBezTo>
                  <a:cubicBezTo>
                    <a:pt x="591" y="219"/>
                    <a:pt x="589" y="217"/>
                    <a:pt x="587" y="217"/>
                  </a:cubicBezTo>
                  <a:cubicBezTo>
                    <a:pt x="580" y="215"/>
                    <a:pt x="583" y="212"/>
                    <a:pt x="585" y="209"/>
                  </a:cubicBezTo>
                  <a:cubicBezTo>
                    <a:pt x="597" y="197"/>
                    <a:pt x="610" y="186"/>
                    <a:pt x="624" y="177"/>
                  </a:cubicBezTo>
                  <a:cubicBezTo>
                    <a:pt x="628" y="174"/>
                    <a:pt x="633" y="171"/>
                    <a:pt x="638" y="173"/>
                  </a:cubicBezTo>
                  <a:cubicBezTo>
                    <a:pt x="647" y="177"/>
                    <a:pt x="654" y="175"/>
                    <a:pt x="662" y="172"/>
                  </a:cubicBezTo>
                  <a:cubicBezTo>
                    <a:pt x="665" y="171"/>
                    <a:pt x="667" y="171"/>
                    <a:pt x="670" y="172"/>
                  </a:cubicBezTo>
                  <a:cubicBezTo>
                    <a:pt x="675" y="174"/>
                    <a:pt x="680" y="174"/>
                    <a:pt x="685" y="175"/>
                  </a:cubicBezTo>
                  <a:cubicBezTo>
                    <a:pt x="689" y="175"/>
                    <a:pt x="691" y="174"/>
                    <a:pt x="692" y="171"/>
                  </a:cubicBezTo>
                  <a:cubicBezTo>
                    <a:pt x="695" y="161"/>
                    <a:pt x="711" y="150"/>
                    <a:pt x="721" y="150"/>
                  </a:cubicBezTo>
                  <a:cubicBezTo>
                    <a:pt x="725" y="150"/>
                    <a:pt x="729" y="151"/>
                    <a:pt x="725" y="156"/>
                  </a:cubicBezTo>
                  <a:cubicBezTo>
                    <a:pt x="724" y="158"/>
                    <a:pt x="723" y="160"/>
                    <a:pt x="725" y="161"/>
                  </a:cubicBezTo>
                  <a:cubicBezTo>
                    <a:pt x="726" y="162"/>
                    <a:pt x="727" y="161"/>
                    <a:pt x="728" y="160"/>
                  </a:cubicBezTo>
                  <a:cubicBezTo>
                    <a:pt x="733" y="155"/>
                    <a:pt x="740" y="153"/>
                    <a:pt x="742" y="146"/>
                  </a:cubicBezTo>
                  <a:cubicBezTo>
                    <a:pt x="742" y="144"/>
                    <a:pt x="745" y="142"/>
                    <a:pt x="747" y="143"/>
                  </a:cubicBezTo>
                  <a:cubicBezTo>
                    <a:pt x="749" y="145"/>
                    <a:pt x="749" y="147"/>
                    <a:pt x="748" y="149"/>
                  </a:cubicBezTo>
                  <a:cubicBezTo>
                    <a:pt x="747" y="152"/>
                    <a:pt x="746" y="156"/>
                    <a:pt x="742" y="158"/>
                  </a:cubicBezTo>
                  <a:cubicBezTo>
                    <a:pt x="734" y="163"/>
                    <a:pt x="728" y="170"/>
                    <a:pt x="722" y="177"/>
                  </a:cubicBezTo>
                  <a:cubicBezTo>
                    <a:pt x="719" y="180"/>
                    <a:pt x="717" y="183"/>
                    <a:pt x="713" y="185"/>
                  </a:cubicBezTo>
                  <a:cubicBezTo>
                    <a:pt x="706" y="189"/>
                    <a:pt x="703" y="194"/>
                    <a:pt x="703" y="201"/>
                  </a:cubicBezTo>
                  <a:cubicBezTo>
                    <a:pt x="702" y="213"/>
                    <a:pt x="704" y="224"/>
                    <a:pt x="709" y="235"/>
                  </a:cubicBezTo>
                  <a:cubicBezTo>
                    <a:pt x="710" y="237"/>
                    <a:pt x="712" y="238"/>
                    <a:pt x="713" y="236"/>
                  </a:cubicBezTo>
                  <a:cubicBezTo>
                    <a:pt x="716" y="229"/>
                    <a:pt x="726" y="226"/>
                    <a:pt x="727" y="217"/>
                  </a:cubicBezTo>
                  <a:cubicBezTo>
                    <a:pt x="727" y="213"/>
                    <a:pt x="730" y="209"/>
                    <a:pt x="735" y="209"/>
                  </a:cubicBezTo>
                  <a:cubicBezTo>
                    <a:pt x="737" y="208"/>
                    <a:pt x="738" y="208"/>
                    <a:pt x="737" y="205"/>
                  </a:cubicBezTo>
                  <a:cubicBezTo>
                    <a:pt x="736" y="201"/>
                    <a:pt x="737" y="196"/>
                    <a:pt x="743" y="195"/>
                  </a:cubicBezTo>
                  <a:cubicBezTo>
                    <a:pt x="744" y="194"/>
                    <a:pt x="744" y="193"/>
                    <a:pt x="744" y="192"/>
                  </a:cubicBezTo>
                  <a:cubicBezTo>
                    <a:pt x="740" y="190"/>
                    <a:pt x="741" y="185"/>
                    <a:pt x="739" y="182"/>
                  </a:cubicBezTo>
                  <a:cubicBezTo>
                    <a:pt x="736" y="174"/>
                    <a:pt x="740" y="167"/>
                    <a:pt x="749" y="165"/>
                  </a:cubicBezTo>
                  <a:cubicBezTo>
                    <a:pt x="751" y="165"/>
                    <a:pt x="752" y="163"/>
                    <a:pt x="754" y="162"/>
                  </a:cubicBezTo>
                  <a:cubicBezTo>
                    <a:pt x="761" y="158"/>
                    <a:pt x="769" y="155"/>
                    <a:pt x="776" y="158"/>
                  </a:cubicBezTo>
                  <a:cubicBezTo>
                    <a:pt x="782" y="161"/>
                    <a:pt x="785" y="160"/>
                    <a:pt x="789" y="157"/>
                  </a:cubicBezTo>
                  <a:cubicBezTo>
                    <a:pt x="792" y="154"/>
                    <a:pt x="795" y="152"/>
                    <a:pt x="798" y="150"/>
                  </a:cubicBezTo>
                  <a:cubicBezTo>
                    <a:pt x="806" y="146"/>
                    <a:pt x="813" y="141"/>
                    <a:pt x="823" y="140"/>
                  </a:cubicBezTo>
                  <a:cubicBezTo>
                    <a:pt x="823" y="140"/>
                    <a:pt x="824" y="140"/>
                    <a:pt x="825" y="141"/>
                  </a:cubicBezTo>
                  <a:cubicBezTo>
                    <a:pt x="828" y="141"/>
                    <a:pt x="830" y="142"/>
                    <a:pt x="831" y="140"/>
                  </a:cubicBezTo>
                  <a:cubicBezTo>
                    <a:pt x="832" y="137"/>
                    <a:pt x="829" y="134"/>
                    <a:pt x="828" y="131"/>
                  </a:cubicBezTo>
                  <a:cubicBezTo>
                    <a:pt x="825" y="128"/>
                    <a:pt x="823" y="125"/>
                    <a:pt x="818" y="124"/>
                  </a:cubicBezTo>
                  <a:cubicBezTo>
                    <a:pt x="815" y="124"/>
                    <a:pt x="812" y="122"/>
                    <a:pt x="812" y="119"/>
                  </a:cubicBezTo>
                  <a:cubicBezTo>
                    <a:pt x="813" y="116"/>
                    <a:pt x="817" y="117"/>
                    <a:pt x="819" y="118"/>
                  </a:cubicBezTo>
                  <a:cubicBezTo>
                    <a:pt x="831" y="120"/>
                    <a:pt x="831" y="119"/>
                    <a:pt x="832" y="109"/>
                  </a:cubicBezTo>
                  <a:cubicBezTo>
                    <a:pt x="832" y="108"/>
                    <a:pt x="832" y="106"/>
                    <a:pt x="834" y="105"/>
                  </a:cubicBezTo>
                  <a:cubicBezTo>
                    <a:pt x="836" y="105"/>
                    <a:pt x="837" y="106"/>
                    <a:pt x="838" y="108"/>
                  </a:cubicBezTo>
                  <a:cubicBezTo>
                    <a:pt x="839" y="111"/>
                    <a:pt x="841" y="112"/>
                    <a:pt x="843" y="111"/>
                  </a:cubicBezTo>
                  <a:cubicBezTo>
                    <a:pt x="830" y="99"/>
                    <a:pt x="816" y="87"/>
                    <a:pt x="801" y="76"/>
                  </a:cubicBezTo>
                  <a:cubicBezTo>
                    <a:pt x="791" y="75"/>
                    <a:pt x="781" y="74"/>
                    <a:pt x="770" y="73"/>
                  </a:cubicBezTo>
                  <a:cubicBezTo>
                    <a:pt x="771" y="74"/>
                    <a:pt x="771" y="75"/>
                    <a:pt x="771" y="76"/>
                  </a:cubicBezTo>
                  <a:cubicBezTo>
                    <a:pt x="772" y="79"/>
                    <a:pt x="774" y="83"/>
                    <a:pt x="772" y="85"/>
                  </a:cubicBezTo>
                  <a:cubicBezTo>
                    <a:pt x="769" y="87"/>
                    <a:pt x="766" y="85"/>
                    <a:pt x="763" y="84"/>
                  </a:cubicBezTo>
                  <a:cubicBezTo>
                    <a:pt x="759" y="82"/>
                    <a:pt x="754" y="81"/>
                    <a:pt x="750" y="81"/>
                  </a:cubicBezTo>
                  <a:cubicBezTo>
                    <a:pt x="745" y="80"/>
                    <a:pt x="739" y="80"/>
                    <a:pt x="734" y="80"/>
                  </a:cubicBezTo>
                  <a:cubicBezTo>
                    <a:pt x="731" y="81"/>
                    <a:pt x="727" y="81"/>
                    <a:pt x="723" y="81"/>
                  </a:cubicBezTo>
                  <a:cubicBezTo>
                    <a:pt x="718" y="80"/>
                    <a:pt x="713" y="80"/>
                    <a:pt x="710" y="73"/>
                  </a:cubicBezTo>
                  <a:cubicBezTo>
                    <a:pt x="709" y="70"/>
                    <a:pt x="706" y="68"/>
                    <a:pt x="703" y="68"/>
                  </a:cubicBezTo>
                  <a:cubicBezTo>
                    <a:pt x="695" y="68"/>
                    <a:pt x="688" y="67"/>
                    <a:pt x="682" y="70"/>
                  </a:cubicBezTo>
                  <a:cubicBezTo>
                    <a:pt x="672" y="73"/>
                    <a:pt x="665" y="66"/>
                    <a:pt x="657" y="65"/>
                  </a:cubicBezTo>
                  <a:cubicBezTo>
                    <a:pt x="656" y="64"/>
                    <a:pt x="655" y="63"/>
                    <a:pt x="655" y="62"/>
                  </a:cubicBezTo>
                  <a:cubicBezTo>
                    <a:pt x="650" y="56"/>
                    <a:pt x="648" y="55"/>
                    <a:pt x="641" y="58"/>
                  </a:cubicBezTo>
                  <a:cubicBezTo>
                    <a:pt x="639" y="59"/>
                    <a:pt x="637" y="61"/>
                    <a:pt x="634" y="62"/>
                  </a:cubicBezTo>
                  <a:cubicBezTo>
                    <a:pt x="633" y="63"/>
                    <a:pt x="631" y="64"/>
                    <a:pt x="629" y="63"/>
                  </a:cubicBezTo>
                  <a:cubicBezTo>
                    <a:pt x="628" y="61"/>
                    <a:pt x="629" y="60"/>
                    <a:pt x="630" y="59"/>
                  </a:cubicBezTo>
                  <a:cubicBezTo>
                    <a:pt x="633" y="56"/>
                    <a:pt x="631" y="54"/>
                    <a:pt x="628" y="54"/>
                  </a:cubicBezTo>
                  <a:cubicBezTo>
                    <a:pt x="621" y="55"/>
                    <a:pt x="614" y="55"/>
                    <a:pt x="607" y="54"/>
                  </a:cubicBezTo>
                  <a:cubicBezTo>
                    <a:pt x="604" y="53"/>
                    <a:pt x="602" y="54"/>
                    <a:pt x="602" y="57"/>
                  </a:cubicBezTo>
                  <a:cubicBezTo>
                    <a:pt x="602" y="64"/>
                    <a:pt x="599" y="68"/>
                    <a:pt x="592" y="68"/>
                  </a:cubicBezTo>
                  <a:cubicBezTo>
                    <a:pt x="583" y="67"/>
                    <a:pt x="574" y="66"/>
                    <a:pt x="565" y="66"/>
                  </a:cubicBezTo>
                  <a:cubicBezTo>
                    <a:pt x="565" y="66"/>
                    <a:pt x="564" y="66"/>
                    <a:pt x="564" y="66"/>
                  </a:cubicBezTo>
                  <a:cubicBezTo>
                    <a:pt x="561" y="66"/>
                    <a:pt x="560" y="66"/>
                    <a:pt x="559" y="69"/>
                  </a:cubicBezTo>
                  <a:cubicBezTo>
                    <a:pt x="558" y="73"/>
                    <a:pt x="555" y="75"/>
                    <a:pt x="552" y="74"/>
                  </a:cubicBezTo>
                  <a:cubicBezTo>
                    <a:pt x="544" y="70"/>
                    <a:pt x="537" y="65"/>
                    <a:pt x="532" y="58"/>
                  </a:cubicBezTo>
                  <a:cubicBezTo>
                    <a:pt x="530" y="56"/>
                    <a:pt x="529" y="54"/>
                    <a:pt x="533" y="53"/>
                  </a:cubicBezTo>
                  <a:cubicBezTo>
                    <a:pt x="535" y="53"/>
                    <a:pt x="537" y="53"/>
                    <a:pt x="537" y="50"/>
                  </a:cubicBezTo>
                  <a:cubicBezTo>
                    <a:pt x="536" y="48"/>
                    <a:pt x="534" y="46"/>
                    <a:pt x="532" y="46"/>
                  </a:cubicBezTo>
                  <a:cubicBezTo>
                    <a:pt x="524" y="45"/>
                    <a:pt x="516" y="44"/>
                    <a:pt x="508" y="48"/>
                  </a:cubicBezTo>
                  <a:cubicBezTo>
                    <a:pt x="501" y="52"/>
                    <a:pt x="491" y="53"/>
                    <a:pt x="484" y="48"/>
                  </a:cubicBezTo>
                  <a:cubicBezTo>
                    <a:pt x="477" y="43"/>
                    <a:pt x="469" y="43"/>
                    <a:pt x="463" y="45"/>
                  </a:cubicBezTo>
                  <a:cubicBezTo>
                    <a:pt x="455" y="48"/>
                    <a:pt x="453" y="44"/>
                    <a:pt x="451" y="38"/>
                  </a:cubicBezTo>
                  <a:cubicBezTo>
                    <a:pt x="450" y="34"/>
                    <a:pt x="447" y="33"/>
                    <a:pt x="444" y="33"/>
                  </a:cubicBezTo>
                  <a:cubicBezTo>
                    <a:pt x="442" y="33"/>
                    <a:pt x="440" y="33"/>
                    <a:pt x="438" y="34"/>
                  </a:cubicBezTo>
                  <a:cubicBezTo>
                    <a:pt x="438" y="35"/>
                    <a:pt x="438" y="35"/>
                    <a:pt x="438" y="35"/>
                  </a:cubicBezTo>
                  <a:cubicBezTo>
                    <a:pt x="437" y="35"/>
                    <a:pt x="436" y="35"/>
                    <a:pt x="436" y="36"/>
                  </a:cubicBezTo>
                  <a:cubicBezTo>
                    <a:pt x="437" y="37"/>
                    <a:pt x="438" y="37"/>
                    <a:pt x="439" y="37"/>
                  </a:cubicBezTo>
                  <a:cubicBezTo>
                    <a:pt x="439" y="38"/>
                    <a:pt x="439" y="38"/>
                    <a:pt x="439" y="38"/>
                  </a:cubicBezTo>
                  <a:cubicBezTo>
                    <a:pt x="440" y="38"/>
                    <a:pt x="440" y="38"/>
                    <a:pt x="440" y="38"/>
                  </a:cubicBezTo>
                  <a:cubicBezTo>
                    <a:pt x="439" y="38"/>
                    <a:pt x="439" y="38"/>
                    <a:pt x="439" y="38"/>
                  </a:cubicBezTo>
                  <a:cubicBezTo>
                    <a:pt x="438" y="38"/>
                    <a:pt x="438" y="38"/>
                    <a:pt x="438" y="38"/>
                  </a:cubicBezTo>
                  <a:cubicBezTo>
                    <a:pt x="438" y="38"/>
                    <a:pt x="437" y="38"/>
                    <a:pt x="436" y="39"/>
                  </a:cubicBezTo>
                  <a:cubicBezTo>
                    <a:pt x="435" y="39"/>
                    <a:pt x="434" y="40"/>
                    <a:pt x="435" y="41"/>
                  </a:cubicBezTo>
                  <a:cubicBezTo>
                    <a:pt x="435" y="41"/>
                    <a:pt x="435" y="41"/>
                    <a:pt x="435" y="41"/>
                  </a:cubicBezTo>
                  <a:cubicBezTo>
                    <a:pt x="436" y="43"/>
                    <a:pt x="437" y="44"/>
                    <a:pt x="435" y="46"/>
                  </a:cubicBezTo>
                  <a:cubicBezTo>
                    <a:pt x="432" y="49"/>
                    <a:pt x="420" y="50"/>
                    <a:pt x="415" y="48"/>
                  </a:cubicBezTo>
                  <a:cubicBezTo>
                    <a:pt x="425" y="43"/>
                    <a:pt x="433" y="35"/>
                    <a:pt x="444" y="32"/>
                  </a:cubicBezTo>
                  <a:cubicBezTo>
                    <a:pt x="452" y="30"/>
                    <a:pt x="451" y="23"/>
                    <a:pt x="452" y="17"/>
                  </a:cubicBezTo>
                  <a:cubicBezTo>
                    <a:pt x="451" y="17"/>
                    <a:pt x="449" y="18"/>
                    <a:pt x="448" y="17"/>
                  </a:cubicBezTo>
                  <a:cubicBezTo>
                    <a:pt x="442" y="12"/>
                    <a:pt x="436" y="13"/>
                    <a:pt x="430" y="15"/>
                  </a:cubicBezTo>
                  <a:cubicBezTo>
                    <a:pt x="421" y="17"/>
                    <a:pt x="413" y="13"/>
                    <a:pt x="407" y="9"/>
                  </a:cubicBezTo>
                  <a:cubicBezTo>
                    <a:pt x="405" y="6"/>
                    <a:pt x="413" y="6"/>
                    <a:pt x="409" y="3"/>
                  </a:cubicBezTo>
                  <a:cubicBezTo>
                    <a:pt x="406" y="0"/>
                    <a:pt x="401" y="0"/>
                    <a:pt x="398" y="4"/>
                  </a:cubicBezTo>
                  <a:cubicBezTo>
                    <a:pt x="395" y="7"/>
                    <a:pt x="390" y="9"/>
                    <a:pt x="393" y="15"/>
                  </a:cubicBezTo>
                  <a:cubicBezTo>
                    <a:pt x="394" y="19"/>
                    <a:pt x="392" y="20"/>
                    <a:pt x="389" y="19"/>
                  </a:cubicBezTo>
                  <a:cubicBezTo>
                    <a:pt x="383" y="18"/>
                    <a:pt x="377" y="19"/>
                    <a:pt x="371" y="21"/>
                  </a:cubicBezTo>
                  <a:cubicBezTo>
                    <a:pt x="366" y="22"/>
                    <a:pt x="360" y="23"/>
                    <a:pt x="355" y="22"/>
                  </a:cubicBezTo>
                  <a:cubicBezTo>
                    <a:pt x="341" y="21"/>
                    <a:pt x="327" y="26"/>
                    <a:pt x="312" y="28"/>
                  </a:cubicBezTo>
                  <a:cubicBezTo>
                    <a:pt x="304" y="30"/>
                    <a:pt x="304" y="31"/>
                    <a:pt x="308" y="38"/>
                  </a:cubicBezTo>
                  <a:cubicBezTo>
                    <a:pt x="309" y="40"/>
                    <a:pt x="310" y="42"/>
                    <a:pt x="309" y="44"/>
                  </a:cubicBezTo>
                  <a:cubicBezTo>
                    <a:pt x="307" y="46"/>
                    <a:pt x="305" y="44"/>
                    <a:pt x="304" y="44"/>
                  </a:cubicBezTo>
                  <a:cubicBezTo>
                    <a:pt x="296" y="42"/>
                    <a:pt x="289" y="42"/>
                    <a:pt x="281" y="41"/>
                  </a:cubicBezTo>
                  <a:cubicBezTo>
                    <a:pt x="278" y="41"/>
                    <a:pt x="275" y="41"/>
                    <a:pt x="274" y="45"/>
                  </a:cubicBezTo>
                  <a:cubicBezTo>
                    <a:pt x="274" y="48"/>
                    <a:pt x="275" y="50"/>
                    <a:pt x="278" y="51"/>
                  </a:cubicBezTo>
                  <a:cubicBezTo>
                    <a:pt x="285" y="54"/>
                    <a:pt x="288" y="60"/>
                    <a:pt x="288" y="67"/>
                  </a:cubicBezTo>
                  <a:cubicBezTo>
                    <a:pt x="288" y="70"/>
                    <a:pt x="287" y="72"/>
                    <a:pt x="284" y="73"/>
                  </a:cubicBezTo>
                  <a:cubicBezTo>
                    <a:pt x="281" y="73"/>
                    <a:pt x="279" y="71"/>
                    <a:pt x="280" y="68"/>
                  </a:cubicBezTo>
                  <a:cubicBezTo>
                    <a:pt x="282" y="59"/>
                    <a:pt x="274" y="58"/>
                    <a:pt x="269" y="55"/>
                  </a:cubicBezTo>
                  <a:cubicBezTo>
                    <a:pt x="266" y="54"/>
                    <a:pt x="263" y="54"/>
                    <a:pt x="260" y="54"/>
                  </a:cubicBezTo>
                  <a:cubicBezTo>
                    <a:pt x="257" y="55"/>
                    <a:pt x="254" y="55"/>
                    <a:pt x="251" y="54"/>
                  </a:cubicBezTo>
                  <a:cubicBezTo>
                    <a:pt x="252" y="58"/>
                    <a:pt x="256" y="60"/>
                    <a:pt x="258" y="63"/>
                  </a:cubicBezTo>
                  <a:cubicBezTo>
                    <a:pt x="259" y="63"/>
                    <a:pt x="260" y="64"/>
                    <a:pt x="259" y="65"/>
                  </a:cubicBezTo>
                  <a:cubicBezTo>
                    <a:pt x="258" y="67"/>
                    <a:pt x="257" y="67"/>
                    <a:pt x="255" y="67"/>
                  </a:cubicBezTo>
                  <a:cubicBezTo>
                    <a:pt x="254" y="66"/>
                    <a:pt x="252" y="66"/>
                    <a:pt x="251" y="65"/>
                  </a:cubicBezTo>
                  <a:cubicBezTo>
                    <a:pt x="244" y="63"/>
                    <a:pt x="243" y="57"/>
                    <a:pt x="241" y="50"/>
                  </a:cubicBezTo>
                  <a:cubicBezTo>
                    <a:pt x="233" y="60"/>
                    <a:pt x="234" y="60"/>
                    <a:pt x="234" y="70"/>
                  </a:cubicBezTo>
                  <a:cubicBezTo>
                    <a:pt x="233" y="76"/>
                    <a:pt x="235" y="78"/>
                    <a:pt x="240" y="79"/>
                  </a:cubicBezTo>
                  <a:cubicBezTo>
                    <a:pt x="248" y="81"/>
                    <a:pt x="254" y="85"/>
                    <a:pt x="255" y="93"/>
                  </a:cubicBezTo>
                  <a:cubicBezTo>
                    <a:pt x="255" y="95"/>
                    <a:pt x="256" y="97"/>
                    <a:pt x="258" y="98"/>
                  </a:cubicBezTo>
                  <a:cubicBezTo>
                    <a:pt x="259" y="99"/>
                    <a:pt x="260" y="100"/>
                    <a:pt x="259" y="102"/>
                  </a:cubicBezTo>
                  <a:cubicBezTo>
                    <a:pt x="258" y="103"/>
                    <a:pt x="256" y="104"/>
                    <a:pt x="254" y="103"/>
                  </a:cubicBezTo>
                  <a:cubicBezTo>
                    <a:pt x="249" y="101"/>
                    <a:pt x="248" y="98"/>
                    <a:pt x="247" y="93"/>
                  </a:cubicBezTo>
                  <a:cubicBezTo>
                    <a:pt x="247" y="90"/>
                    <a:pt x="245" y="87"/>
                    <a:pt x="242" y="86"/>
                  </a:cubicBezTo>
                  <a:cubicBezTo>
                    <a:pt x="238" y="85"/>
                    <a:pt x="236" y="89"/>
                    <a:pt x="234" y="91"/>
                  </a:cubicBezTo>
                  <a:cubicBezTo>
                    <a:pt x="231" y="97"/>
                    <a:pt x="227" y="102"/>
                    <a:pt x="222" y="106"/>
                  </a:cubicBezTo>
                  <a:cubicBezTo>
                    <a:pt x="214" y="112"/>
                    <a:pt x="210" y="112"/>
                    <a:pt x="203" y="106"/>
                  </a:cubicBezTo>
                  <a:cubicBezTo>
                    <a:pt x="201" y="105"/>
                    <a:pt x="199" y="104"/>
                    <a:pt x="200" y="101"/>
                  </a:cubicBezTo>
                  <a:cubicBezTo>
                    <a:pt x="202" y="99"/>
                    <a:pt x="204" y="100"/>
                    <a:pt x="206" y="100"/>
                  </a:cubicBezTo>
                  <a:cubicBezTo>
                    <a:pt x="207" y="100"/>
                    <a:pt x="209" y="101"/>
                    <a:pt x="210" y="101"/>
                  </a:cubicBezTo>
                  <a:cubicBezTo>
                    <a:pt x="214" y="107"/>
                    <a:pt x="217" y="102"/>
                    <a:pt x="219" y="99"/>
                  </a:cubicBezTo>
                  <a:cubicBezTo>
                    <a:pt x="224" y="87"/>
                    <a:pt x="227" y="75"/>
                    <a:pt x="225" y="63"/>
                  </a:cubicBezTo>
                  <a:cubicBezTo>
                    <a:pt x="225" y="61"/>
                    <a:pt x="225" y="59"/>
                    <a:pt x="225" y="57"/>
                  </a:cubicBezTo>
                  <a:cubicBezTo>
                    <a:pt x="98" y="140"/>
                    <a:pt x="11" y="279"/>
                    <a:pt x="0" y="440"/>
                  </a:cubicBezTo>
                  <a:cubicBezTo>
                    <a:pt x="2" y="443"/>
                    <a:pt x="5" y="447"/>
                    <a:pt x="9" y="451"/>
                  </a:cubicBezTo>
                  <a:moveTo>
                    <a:pt x="201" y="74"/>
                  </a:moveTo>
                  <a:cubicBezTo>
                    <a:pt x="201" y="75"/>
                    <a:pt x="201" y="75"/>
                    <a:pt x="202" y="76"/>
                  </a:cubicBezTo>
                  <a:cubicBezTo>
                    <a:pt x="204" y="78"/>
                    <a:pt x="207" y="81"/>
                    <a:pt x="204" y="85"/>
                  </a:cubicBezTo>
                  <a:cubicBezTo>
                    <a:pt x="201" y="89"/>
                    <a:pt x="197" y="87"/>
                    <a:pt x="194" y="84"/>
                  </a:cubicBezTo>
                  <a:cubicBezTo>
                    <a:pt x="193" y="84"/>
                    <a:pt x="192" y="83"/>
                    <a:pt x="192" y="83"/>
                  </a:cubicBezTo>
                  <a:cubicBezTo>
                    <a:pt x="191" y="82"/>
                    <a:pt x="191" y="82"/>
                    <a:pt x="191" y="82"/>
                  </a:cubicBezTo>
                  <a:cubicBezTo>
                    <a:pt x="194" y="79"/>
                    <a:pt x="197" y="77"/>
                    <a:pt x="201" y="74"/>
                  </a:cubicBezTo>
                  <a:moveTo>
                    <a:pt x="120" y="282"/>
                  </a:moveTo>
                  <a:cubicBezTo>
                    <a:pt x="121" y="278"/>
                    <a:pt x="126" y="272"/>
                    <a:pt x="129" y="273"/>
                  </a:cubicBezTo>
                  <a:cubicBezTo>
                    <a:pt x="132" y="274"/>
                    <a:pt x="131" y="276"/>
                    <a:pt x="131" y="278"/>
                  </a:cubicBezTo>
                  <a:cubicBezTo>
                    <a:pt x="130" y="282"/>
                    <a:pt x="129" y="286"/>
                    <a:pt x="124" y="287"/>
                  </a:cubicBezTo>
                  <a:cubicBezTo>
                    <a:pt x="121" y="287"/>
                    <a:pt x="120" y="284"/>
                    <a:pt x="120" y="282"/>
                  </a:cubicBezTo>
                  <a:moveTo>
                    <a:pt x="58" y="269"/>
                  </a:moveTo>
                  <a:cubicBezTo>
                    <a:pt x="64" y="264"/>
                    <a:pt x="72" y="263"/>
                    <a:pt x="80" y="263"/>
                  </a:cubicBezTo>
                  <a:cubicBezTo>
                    <a:pt x="83" y="263"/>
                    <a:pt x="85" y="265"/>
                    <a:pt x="85" y="268"/>
                  </a:cubicBezTo>
                  <a:cubicBezTo>
                    <a:pt x="85" y="271"/>
                    <a:pt x="84" y="272"/>
                    <a:pt x="80" y="272"/>
                  </a:cubicBezTo>
                  <a:cubicBezTo>
                    <a:pt x="72" y="273"/>
                    <a:pt x="68" y="281"/>
                    <a:pt x="73" y="288"/>
                  </a:cubicBezTo>
                  <a:cubicBezTo>
                    <a:pt x="76" y="291"/>
                    <a:pt x="79" y="295"/>
                    <a:pt x="78" y="299"/>
                  </a:cubicBezTo>
                  <a:cubicBezTo>
                    <a:pt x="78" y="303"/>
                    <a:pt x="80" y="305"/>
                    <a:pt x="84" y="302"/>
                  </a:cubicBezTo>
                  <a:cubicBezTo>
                    <a:pt x="85" y="301"/>
                    <a:pt x="86" y="300"/>
                    <a:pt x="87" y="301"/>
                  </a:cubicBezTo>
                  <a:cubicBezTo>
                    <a:pt x="89" y="302"/>
                    <a:pt x="90" y="304"/>
                    <a:pt x="90" y="305"/>
                  </a:cubicBezTo>
                  <a:cubicBezTo>
                    <a:pt x="90" y="308"/>
                    <a:pt x="88" y="307"/>
                    <a:pt x="86" y="307"/>
                  </a:cubicBezTo>
                  <a:cubicBezTo>
                    <a:pt x="81" y="307"/>
                    <a:pt x="79" y="308"/>
                    <a:pt x="83" y="313"/>
                  </a:cubicBezTo>
                  <a:cubicBezTo>
                    <a:pt x="88" y="319"/>
                    <a:pt x="87" y="325"/>
                    <a:pt x="85" y="331"/>
                  </a:cubicBezTo>
                  <a:cubicBezTo>
                    <a:pt x="85" y="335"/>
                    <a:pt x="81" y="335"/>
                    <a:pt x="77" y="335"/>
                  </a:cubicBezTo>
                  <a:cubicBezTo>
                    <a:pt x="76" y="335"/>
                    <a:pt x="75" y="335"/>
                    <a:pt x="74" y="335"/>
                  </a:cubicBezTo>
                  <a:cubicBezTo>
                    <a:pt x="62" y="334"/>
                    <a:pt x="56" y="326"/>
                    <a:pt x="60" y="317"/>
                  </a:cubicBezTo>
                  <a:cubicBezTo>
                    <a:pt x="63" y="311"/>
                    <a:pt x="66" y="306"/>
                    <a:pt x="60" y="299"/>
                  </a:cubicBezTo>
                  <a:cubicBezTo>
                    <a:pt x="55" y="293"/>
                    <a:pt x="54" y="285"/>
                    <a:pt x="53" y="278"/>
                  </a:cubicBezTo>
                  <a:cubicBezTo>
                    <a:pt x="53" y="274"/>
                    <a:pt x="54" y="271"/>
                    <a:pt x="58" y="269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îSḻïḍe"/>
            <p:cNvSpPr/>
            <p:nvPr/>
          </p:nvSpPr>
          <p:spPr bwMode="auto">
            <a:xfrm>
              <a:off x="6467475" y="2802732"/>
              <a:ext cx="111125" cy="103188"/>
            </a:xfrm>
            <a:custGeom>
              <a:avLst/>
              <a:gdLst>
                <a:gd name="T0" fmla="*/ 3 w 34"/>
                <a:gd name="T1" fmla="*/ 15 h 31"/>
                <a:gd name="T2" fmla="*/ 0 w 34"/>
                <a:gd name="T3" fmla="*/ 20 h 31"/>
                <a:gd name="T4" fmla="*/ 5 w 34"/>
                <a:gd name="T5" fmla="*/ 29 h 31"/>
                <a:gd name="T6" fmla="*/ 10 w 34"/>
                <a:gd name="T7" fmla="*/ 25 h 31"/>
                <a:gd name="T8" fmla="*/ 14 w 34"/>
                <a:gd name="T9" fmla="*/ 25 h 31"/>
                <a:gd name="T10" fmla="*/ 32 w 34"/>
                <a:gd name="T11" fmla="*/ 15 h 31"/>
                <a:gd name="T12" fmla="*/ 34 w 34"/>
                <a:gd name="T13" fmla="*/ 10 h 31"/>
                <a:gd name="T14" fmla="*/ 31 w 34"/>
                <a:gd name="T15" fmla="*/ 8 h 31"/>
                <a:gd name="T16" fmla="*/ 17 w 34"/>
                <a:gd name="T17" fmla="*/ 3 h 31"/>
                <a:gd name="T18" fmla="*/ 11 w 34"/>
                <a:gd name="T19" fmla="*/ 1 h 31"/>
                <a:gd name="T20" fmla="*/ 9 w 34"/>
                <a:gd name="T21" fmla="*/ 6 h 31"/>
                <a:gd name="T22" fmla="*/ 3 w 34"/>
                <a:gd name="T2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31">
                  <a:moveTo>
                    <a:pt x="3" y="15"/>
                  </a:moveTo>
                  <a:cubicBezTo>
                    <a:pt x="0" y="16"/>
                    <a:pt x="0" y="18"/>
                    <a:pt x="0" y="20"/>
                  </a:cubicBezTo>
                  <a:cubicBezTo>
                    <a:pt x="0" y="24"/>
                    <a:pt x="2" y="27"/>
                    <a:pt x="5" y="29"/>
                  </a:cubicBezTo>
                  <a:cubicBezTo>
                    <a:pt x="9" y="31"/>
                    <a:pt x="9" y="27"/>
                    <a:pt x="10" y="25"/>
                  </a:cubicBezTo>
                  <a:cubicBezTo>
                    <a:pt x="11" y="25"/>
                    <a:pt x="12" y="25"/>
                    <a:pt x="14" y="25"/>
                  </a:cubicBezTo>
                  <a:cubicBezTo>
                    <a:pt x="21" y="24"/>
                    <a:pt x="26" y="18"/>
                    <a:pt x="32" y="15"/>
                  </a:cubicBezTo>
                  <a:cubicBezTo>
                    <a:pt x="34" y="15"/>
                    <a:pt x="34" y="12"/>
                    <a:pt x="34" y="10"/>
                  </a:cubicBezTo>
                  <a:cubicBezTo>
                    <a:pt x="34" y="9"/>
                    <a:pt x="32" y="8"/>
                    <a:pt x="31" y="8"/>
                  </a:cubicBezTo>
                  <a:cubicBezTo>
                    <a:pt x="25" y="10"/>
                    <a:pt x="21" y="6"/>
                    <a:pt x="17" y="3"/>
                  </a:cubicBezTo>
                  <a:cubicBezTo>
                    <a:pt x="15" y="2"/>
                    <a:pt x="14" y="0"/>
                    <a:pt x="11" y="1"/>
                  </a:cubicBezTo>
                  <a:cubicBezTo>
                    <a:pt x="9" y="1"/>
                    <a:pt x="9" y="4"/>
                    <a:pt x="9" y="6"/>
                  </a:cubicBezTo>
                  <a:cubicBezTo>
                    <a:pt x="9" y="10"/>
                    <a:pt x="8" y="14"/>
                    <a:pt x="3" y="15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ïṩļïdè"/>
            <p:cNvSpPr/>
            <p:nvPr/>
          </p:nvSpPr>
          <p:spPr bwMode="auto">
            <a:xfrm>
              <a:off x="6492875" y="2559844"/>
              <a:ext cx="63500" cy="220663"/>
            </a:xfrm>
            <a:custGeom>
              <a:avLst/>
              <a:gdLst>
                <a:gd name="T0" fmla="*/ 8 w 19"/>
                <a:gd name="T1" fmla="*/ 0 h 67"/>
                <a:gd name="T2" fmla="*/ 6 w 19"/>
                <a:gd name="T3" fmla="*/ 34 h 67"/>
                <a:gd name="T4" fmla="*/ 7 w 19"/>
                <a:gd name="T5" fmla="*/ 41 h 67"/>
                <a:gd name="T6" fmla="*/ 8 w 19"/>
                <a:gd name="T7" fmla="*/ 63 h 67"/>
                <a:gd name="T8" fmla="*/ 10 w 19"/>
                <a:gd name="T9" fmla="*/ 67 h 67"/>
                <a:gd name="T10" fmla="*/ 14 w 19"/>
                <a:gd name="T11" fmla="*/ 65 h 67"/>
                <a:gd name="T12" fmla="*/ 14 w 19"/>
                <a:gd name="T13" fmla="*/ 62 h 67"/>
                <a:gd name="T14" fmla="*/ 10 w 19"/>
                <a:gd name="T15" fmla="*/ 46 h 67"/>
                <a:gd name="T16" fmla="*/ 15 w 19"/>
                <a:gd name="T17" fmla="*/ 45 h 67"/>
                <a:gd name="T18" fmla="*/ 19 w 19"/>
                <a:gd name="T19" fmla="*/ 46 h 67"/>
                <a:gd name="T20" fmla="*/ 10 w 19"/>
                <a:gd name="T21" fmla="*/ 23 h 67"/>
                <a:gd name="T22" fmla="*/ 8 w 19"/>
                <a:gd name="T2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67">
                  <a:moveTo>
                    <a:pt x="8" y="0"/>
                  </a:moveTo>
                  <a:cubicBezTo>
                    <a:pt x="2" y="12"/>
                    <a:pt x="0" y="23"/>
                    <a:pt x="6" y="34"/>
                  </a:cubicBezTo>
                  <a:cubicBezTo>
                    <a:pt x="7" y="36"/>
                    <a:pt x="7" y="39"/>
                    <a:pt x="7" y="41"/>
                  </a:cubicBezTo>
                  <a:cubicBezTo>
                    <a:pt x="7" y="48"/>
                    <a:pt x="7" y="56"/>
                    <a:pt x="8" y="63"/>
                  </a:cubicBezTo>
                  <a:cubicBezTo>
                    <a:pt x="8" y="65"/>
                    <a:pt x="8" y="66"/>
                    <a:pt x="10" y="67"/>
                  </a:cubicBezTo>
                  <a:cubicBezTo>
                    <a:pt x="12" y="67"/>
                    <a:pt x="13" y="67"/>
                    <a:pt x="14" y="65"/>
                  </a:cubicBezTo>
                  <a:cubicBezTo>
                    <a:pt x="15" y="64"/>
                    <a:pt x="15" y="63"/>
                    <a:pt x="14" y="62"/>
                  </a:cubicBezTo>
                  <a:cubicBezTo>
                    <a:pt x="8" y="57"/>
                    <a:pt x="10" y="51"/>
                    <a:pt x="10" y="46"/>
                  </a:cubicBezTo>
                  <a:cubicBezTo>
                    <a:pt x="11" y="44"/>
                    <a:pt x="13" y="45"/>
                    <a:pt x="15" y="45"/>
                  </a:cubicBezTo>
                  <a:cubicBezTo>
                    <a:pt x="16" y="46"/>
                    <a:pt x="18" y="46"/>
                    <a:pt x="19" y="46"/>
                  </a:cubicBezTo>
                  <a:cubicBezTo>
                    <a:pt x="14" y="38"/>
                    <a:pt x="12" y="31"/>
                    <a:pt x="10" y="23"/>
                  </a:cubicBezTo>
                  <a:cubicBezTo>
                    <a:pt x="8" y="16"/>
                    <a:pt x="11" y="8"/>
                    <a:pt x="8" y="0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î$ḻíḍé"/>
            <p:cNvSpPr/>
            <p:nvPr/>
          </p:nvSpPr>
          <p:spPr bwMode="auto">
            <a:xfrm>
              <a:off x="6245225" y="2915444"/>
              <a:ext cx="271463" cy="247650"/>
            </a:xfrm>
            <a:custGeom>
              <a:avLst/>
              <a:gdLst>
                <a:gd name="T0" fmla="*/ 52 w 82"/>
                <a:gd name="T1" fmla="*/ 29 h 75"/>
                <a:gd name="T2" fmla="*/ 43 w 82"/>
                <a:gd name="T3" fmla="*/ 33 h 75"/>
                <a:gd name="T4" fmla="*/ 34 w 82"/>
                <a:gd name="T5" fmla="*/ 38 h 75"/>
                <a:gd name="T6" fmla="*/ 12 w 82"/>
                <a:gd name="T7" fmla="*/ 48 h 75"/>
                <a:gd name="T8" fmla="*/ 6 w 82"/>
                <a:gd name="T9" fmla="*/ 50 h 75"/>
                <a:gd name="T10" fmla="*/ 1 w 82"/>
                <a:gd name="T11" fmla="*/ 49 h 75"/>
                <a:gd name="T12" fmla="*/ 3 w 82"/>
                <a:gd name="T13" fmla="*/ 55 h 75"/>
                <a:gd name="T14" fmla="*/ 7 w 82"/>
                <a:gd name="T15" fmla="*/ 66 h 75"/>
                <a:gd name="T16" fmla="*/ 10 w 82"/>
                <a:gd name="T17" fmla="*/ 74 h 75"/>
                <a:gd name="T18" fmla="*/ 17 w 82"/>
                <a:gd name="T19" fmla="*/ 68 h 75"/>
                <a:gd name="T20" fmla="*/ 20 w 82"/>
                <a:gd name="T21" fmla="*/ 62 h 75"/>
                <a:gd name="T22" fmla="*/ 26 w 82"/>
                <a:gd name="T23" fmla="*/ 58 h 75"/>
                <a:gd name="T24" fmla="*/ 35 w 82"/>
                <a:gd name="T25" fmla="*/ 53 h 75"/>
                <a:gd name="T26" fmla="*/ 28 w 82"/>
                <a:gd name="T27" fmla="*/ 48 h 75"/>
                <a:gd name="T28" fmla="*/ 39 w 82"/>
                <a:gd name="T29" fmla="*/ 52 h 75"/>
                <a:gd name="T30" fmla="*/ 44 w 82"/>
                <a:gd name="T31" fmla="*/ 54 h 75"/>
                <a:gd name="T32" fmla="*/ 65 w 82"/>
                <a:gd name="T33" fmla="*/ 47 h 75"/>
                <a:gd name="T34" fmla="*/ 72 w 82"/>
                <a:gd name="T35" fmla="*/ 41 h 75"/>
                <a:gd name="T36" fmla="*/ 80 w 82"/>
                <a:gd name="T37" fmla="*/ 16 h 75"/>
                <a:gd name="T38" fmla="*/ 80 w 82"/>
                <a:gd name="T39" fmla="*/ 5 h 75"/>
                <a:gd name="T40" fmla="*/ 72 w 82"/>
                <a:gd name="T41" fmla="*/ 0 h 75"/>
                <a:gd name="T42" fmla="*/ 67 w 82"/>
                <a:gd name="T43" fmla="*/ 6 h 75"/>
                <a:gd name="T44" fmla="*/ 65 w 82"/>
                <a:gd name="T45" fmla="*/ 16 h 75"/>
                <a:gd name="T46" fmla="*/ 60 w 82"/>
                <a:gd name="T47" fmla="*/ 19 h 75"/>
                <a:gd name="T48" fmla="*/ 56 w 82"/>
                <a:gd name="T49" fmla="*/ 19 h 75"/>
                <a:gd name="T50" fmla="*/ 57 w 82"/>
                <a:gd name="T51" fmla="*/ 23 h 75"/>
                <a:gd name="T52" fmla="*/ 52 w 82"/>
                <a:gd name="T53" fmla="*/ 2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2" h="75">
                  <a:moveTo>
                    <a:pt x="52" y="29"/>
                  </a:moveTo>
                  <a:cubicBezTo>
                    <a:pt x="46" y="26"/>
                    <a:pt x="45" y="30"/>
                    <a:pt x="43" y="33"/>
                  </a:cubicBezTo>
                  <a:cubicBezTo>
                    <a:pt x="41" y="36"/>
                    <a:pt x="37" y="38"/>
                    <a:pt x="34" y="38"/>
                  </a:cubicBezTo>
                  <a:cubicBezTo>
                    <a:pt x="25" y="39"/>
                    <a:pt x="18" y="42"/>
                    <a:pt x="12" y="48"/>
                  </a:cubicBezTo>
                  <a:cubicBezTo>
                    <a:pt x="11" y="50"/>
                    <a:pt x="9" y="51"/>
                    <a:pt x="6" y="50"/>
                  </a:cubicBezTo>
                  <a:cubicBezTo>
                    <a:pt x="4" y="50"/>
                    <a:pt x="3" y="47"/>
                    <a:pt x="1" y="49"/>
                  </a:cubicBezTo>
                  <a:cubicBezTo>
                    <a:pt x="0" y="51"/>
                    <a:pt x="2" y="53"/>
                    <a:pt x="3" y="55"/>
                  </a:cubicBezTo>
                  <a:cubicBezTo>
                    <a:pt x="5" y="58"/>
                    <a:pt x="9" y="61"/>
                    <a:pt x="7" y="66"/>
                  </a:cubicBezTo>
                  <a:cubicBezTo>
                    <a:pt x="6" y="69"/>
                    <a:pt x="7" y="73"/>
                    <a:pt x="10" y="74"/>
                  </a:cubicBezTo>
                  <a:cubicBezTo>
                    <a:pt x="14" y="75"/>
                    <a:pt x="15" y="71"/>
                    <a:pt x="17" y="68"/>
                  </a:cubicBezTo>
                  <a:cubicBezTo>
                    <a:pt x="18" y="66"/>
                    <a:pt x="19" y="64"/>
                    <a:pt x="20" y="62"/>
                  </a:cubicBezTo>
                  <a:cubicBezTo>
                    <a:pt x="21" y="60"/>
                    <a:pt x="23" y="58"/>
                    <a:pt x="26" y="58"/>
                  </a:cubicBezTo>
                  <a:cubicBezTo>
                    <a:pt x="30" y="58"/>
                    <a:pt x="34" y="57"/>
                    <a:pt x="35" y="53"/>
                  </a:cubicBezTo>
                  <a:cubicBezTo>
                    <a:pt x="36" y="49"/>
                    <a:pt x="30" y="51"/>
                    <a:pt x="28" y="48"/>
                  </a:cubicBezTo>
                  <a:cubicBezTo>
                    <a:pt x="33" y="47"/>
                    <a:pt x="37" y="48"/>
                    <a:pt x="39" y="52"/>
                  </a:cubicBezTo>
                  <a:cubicBezTo>
                    <a:pt x="40" y="53"/>
                    <a:pt x="42" y="56"/>
                    <a:pt x="44" y="54"/>
                  </a:cubicBezTo>
                  <a:cubicBezTo>
                    <a:pt x="50" y="47"/>
                    <a:pt x="58" y="48"/>
                    <a:pt x="65" y="47"/>
                  </a:cubicBezTo>
                  <a:cubicBezTo>
                    <a:pt x="70" y="46"/>
                    <a:pt x="71" y="44"/>
                    <a:pt x="72" y="41"/>
                  </a:cubicBezTo>
                  <a:cubicBezTo>
                    <a:pt x="74" y="32"/>
                    <a:pt x="76" y="24"/>
                    <a:pt x="80" y="16"/>
                  </a:cubicBezTo>
                  <a:cubicBezTo>
                    <a:pt x="82" y="12"/>
                    <a:pt x="82" y="8"/>
                    <a:pt x="80" y="5"/>
                  </a:cubicBezTo>
                  <a:cubicBezTo>
                    <a:pt x="79" y="2"/>
                    <a:pt x="76" y="0"/>
                    <a:pt x="72" y="0"/>
                  </a:cubicBezTo>
                  <a:cubicBezTo>
                    <a:pt x="68" y="0"/>
                    <a:pt x="67" y="3"/>
                    <a:pt x="67" y="6"/>
                  </a:cubicBezTo>
                  <a:cubicBezTo>
                    <a:pt x="66" y="9"/>
                    <a:pt x="66" y="13"/>
                    <a:pt x="65" y="16"/>
                  </a:cubicBezTo>
                  <a:cubicBezTo>
                    <a:pt x="65" y="19"/>
                    <a:pt x="64" y="21"/>
                    <a:pt x="60" y="19"/>
                  </a:cubicBezTo>
                  <a:cubicBezTo>
                    <a:pt x="59" y="19"/>
                    <a:pt x="57" y="18"/>
                    <a:pt x="56" y="19"/>
                  </a:cubicBezTo>
                  <a:cubicBezTo>
                    <a:pt x="54" y="21"/>
                    <a:pt x="56" y="22"/>
                    <a:pt x="57" y="23"/>
                  </a:cubicBezTo>
                  <a:cubicBezTo>
                    <a:pt x="59" y="27"/>
                    <a:pt x="55" y="30"/>
                    <a:pt x="52" y="29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ïṧ1îḍè"/>
            <p:cNvSpPr/>
            <p:nvPr/>
          </p:nvSpPr>
          <p:spPr bwMode="auto">
            <a:xfrm>
              <a:off x="5916612" y="4067969"/>
              <a:ext cx="719138" cy="625475"/>
            </a:xfrm>
            <a:custGeom>
              <a:avLst/>
              <a:gdLst>
                <a:gd name="T0" fmla="*/ 7 w 218"/>
                <a:gd name="T1" fmla="*/ 78 h 190"/>
                <a:gd name="T2" fmla="*/ 6 w 218"/>
                <a:gd name="T3" fmla="*/ 96 h 190"/>
                <a:gd name="T4" fmla="*/ 6 w 218"/>
                <a:gd name="T5" fmla="*/ 105 h 190"/>
                <a:gd name="T6" fmla="*/ 2 w 218"/>
                <a:gd name="T7" fmla="*/ 102 h 190"/>
                <a:gd name="T8" fmla="*/ 1 w 218"/>
                <a:gd name="T9" fmla="*/ 102 h 190"/>
                <a:gd name="T10" fmla="*/ 3 w 218"/>
                <a:gd name="T11" fmla="*/ 109 h 190"/>
                <a:gd name="T12" fmla="*/ 14 w 218"/>
                <a:gd name="T13" fmla="*/ 155 h 190"/>
                <a:gd name="T14" fmla="*/ 19 w 218"/>
                <a:gd name="T15" fmla="*/ 164 h 190"/>
                <a:gd name="T16" fmla="*/ 30 w 218"/>
                <a:gd name="T17" fmla="*/ 164 h 190"/>
                <a:gd name="T18" fmla="*/ 36 w 218"/>
                <a:gd name="T19" fmla="*/ 160 h 190"/>
                <a:gd name="T20" fmla="*/ 68 w 218"/>
                <a:gd name="T21" fmla="*/ 145 h 190"/>
                <a:gd name="T22" fmla="*/ 82 w 218"/>
                <a:gd name="T23" fmla="*/ 142 h 190"/>
                <a:gd name="T24" fmla="*/ 110 w 218"/>
                <a:gd name="T25" fmla="*/ 150 h 190"/>
                <a:gd name="T26" fmla="*/ 116 w 218"/>
                <a:gd name="T27" fmla="*/ 159 h 190"/>
                <a:gd name="T28" fmla="*/ 123 w 218"/>
                <a:gd name="T29" fmla="*/ 149 h 190"/>
                <a:gd name="T30" fmla="*/ 128 w 218"/>
                <a:gd name="T31" fmla="*/ 146 h 190"/>
                <a:gd name="T32" fmla="*/ 128 w 218"/>
                <a:gd name="T33" fmla="*/ 151 h 190"/>
                <a:gd name="T34" fmla="*/ 124 w 218"/>
                <a:gd name="T35" fmla="*/ 161 h 190"/>
                <a:gd name="T36" fmla="*/ 131 w 218"/>
                <a:gd name="T37" fmla="*/ 161 h 190"/>
                <a:gd name="T38" fmla="*/ 137 w 218"/>
                <a:gd name="T39" fmla="*/ 177 h 190"/>
                <a:gd name="T40" fmla="*/ 153 w 218"/>
                <a:gd name="T41" fmla="*/ 183 h 190"/>
                <a:gd name="T42" fmla="*/ 159 w 218"/>
                <a:gd name="T43" fmla="*/ 182 h 190"/>
                <a:gd name="T44" fmla="*/ 172 w 218"/>
                <a:gd name="T45" fmla="*/ 180 h 190"/>
                <a:gd name="T46" fmla="*/ 174 w 218"/>
                <a:gd name="T47" fmla="*/ 178 h 190"/>
                <a:gd name="T48" fmla="*/ 188 w 218"/>
                <a:gd name="T49" fmla="*/ 163 h 190"/>
                <a:gd name="T50" fmla="*/ 194 w 218"/>
                <a:gd name="T51" fmla="*/ 150 h 190"/>
                <a:gd name="T52" fmla="*/ 217 w 218"/>
                <a:gd name="T53" fmla="*/ 92 h 190"/>
                <a:gd name="T54" fmla="*/ 213 w 218"/>
                <a:gd name="T55" fmla="*/ 84 h 190"/>
                <a:gd name="T56" fmla="*/ 204 w 218"/>
                <a:gd name="T57" fmla="*/ 75 h 190"/>
                <a:gd name="T58" fmla="*/ 194 w 218"/>
                <a:gd name="T59" fmla="*/ 59 h 190"/>
                <a:gd name="T60" fmla="*/ 184 w 218"/>
                <a:gd name="T61" fmla="*/ 36 h 190"/>
                <a:gd name="T62" fmla="*/ 179 w 218"/>
                <a:gd name="T63" fmla="*/ 18 h 190"/>
                <a:gd name="T64" fmla="*/ 175 w 218"/>
                <a:gd name="T65" fmla="*/ 8 h 190"/>
                <a:gd name="T66" fmla="*/ 172 w 218"/>
                <a:gd name="T67" fmla="*/ 0 h 190"/>
                <a:gd name="T68" fmla="*/ 165 w 218"/>
                <a:gd name="T69" fmla="*/ 17 h 190"/>
                <a:gd name="T70" fmla="*/ 154 w 218"/>
                <a:gd name="T71" fmla="*/ 43 h 190"/>
                <a:gd name="T72" fmla="*/ 148 w 218"/>
                <a:gd name="T73" fmla="*/ 45 h 190"/>
                <a:gd name="T74" fmla="*/ 132 w 218"/>
                <a:gd name="T75" fmla="*/ 34 h 190"/>
                <a:gd name="T76" fmla="*/ 129 w 218"/>
                <a:gd name="T77" fmla="*/ 21 h 190"/>
                <a:gd name="T78" fmla="*/ 133 w 218"/>
                <a:gd name="T79" fmla="*/ 12 h 190"/>
                <a:gd name="T80" fmla="*/ 132 w 218"/>
                <a:gd name="T81" fmla="*/ 6 h 190"/>
                <a:gd name="T82" fmla="*/ 113 w 218"/>
                <a:gd name="T83" fmla="*/ 2 h 190"/>
                <a:gd name="T84" fmla="*/ 110 w 218"/>
                <a:gd name="T85" fmla="*/ 4 h 190"/>
                <a:gd name="T86" fmla="*/ 104 w 218"/>
                <a:gd name="T87" fmla="*/ 11 h 190"/>
                <a:gd name="T88" fmla="*/ 97 w 218"/>
                <a:gd name="T89" fmla="*/ 25 h 190"/>
                <a:gd name="T90" fmla="*/ 92 w 218"/>
                <a:gd name="T91" fmla="*/ 30 h 190"/>
                <a:gd name="T92" fmla="*/ 84 w 218"/>
                <a:gd name="T93" fmla="*/ 29 h 190"/>
                <a:gd name="T94" fmla="*/ 73 w 218"/>
                <a:gd name="T95" fmla="*/ 24 h 190"/>
                <a:gd name="T96" fmla="*/ 64 w 218"/>
                <a:gd name="T97" fmla="*/ 33 h 190"/>
                <a:gd name="T98" fmla="*/ 61 w 218"/>
                <a:gd name="T99" fmla="*/ 37 h 190"/>
                <a:gd name="T100" fmla="*/ 59 w 218"/>
                <a:gd name="T101" fmla="*/ 44 h 190"/>
                <a:gd name="T102" fmla="*/ 53 w 218"/>
                <a:gd name="T103" fmla="*/ 40 h 190"/>
                <a:gd name="T104" fmla="*/ 49 w 218"/>
                <a:gd name="T105" fmla="*/ 54 h 190"/>
                <a:gd name="T106" fmla="*/ 34 w 218"/>
                <a:gd name="T107" fmla="*/ 64 h 190"/>
                <a:gd name="T108" fmla="*/ 7 w 218"/>
                <a:gd name="T10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" h="190">
                  <a:moveTo>
                    <a:pt x="7" y="78"/>
                  </a:moveTo>
                  <a:cubicBezTo>
                    <a:pt x="1" y="82"/>
                    <a:pt x="1" y="87"/>
                    <a:pt x="6" y="96"/>
                  </a:cubicBezTo>
                  <a:cubicBezTo>
                    <a:pt x="8" y="99"/>
                    <a:pt x="10" y="103"/>
                    <a:pt x="6" y="105"/>
                  </a:cubicBezTo>
                  <a:cubicBezTo>
                    <a:pt x="4" y="107"/>
                    <a:pt x="4" y="102"/>
                    <a:pt x="2" y="102"/>
                  </a:cubicBezTo>
                  <a:cubicBezTo>
                    <a:pt x="2" y="102"/>
                    <a:pt x="1" y="102"/>
                    <a:pt x="1" y="102"/>
                  </a:cubicBezTo>
                  <a:cubicBezTo>
                    <a:pt x="0" y="104"/>
                    <a:pt x="2" y="107"/>
                    <a:pt x="3" y="109"/>
                  </a:cubicBezTo>
                  <a:cubicBezTo>
                    <a:pt x="11" y="123"/>
                    <a:pt x="14" y="138"/>
                    <a:pt x="14" y="155"/>
                  </a:cubicBezTo>
                  <a:cubicBezTo>
                    <a:pt x="15" y="159"/>
                    <a:pt x="15" y="162"/>
                    <a:pt x="19" y="164"/>
                  </a:cubicBezTo>
                  <a:cubicBezTo>
                    <a:pt x="22" y="166"/>
                    <a:pt x="26" y="167"/>
                    <a:pt x="30" y="164"/>
                  </a:cubicBezTo>
                  <a:cubicBezTo>
                    <a:pt x="32" y="163"/>
                    <a:pt x="34" y="161"/>
                    <a:pt x="36" y="160"/>
                  </a:cubicBezTo>
                  <a:cubicBezTo>
                    <a:pt x="47" y="155"/>
                    <a:pt x="58" y="153"/>
                    <a:pt x="68" y="145"/>
                  </a:cubicBezTo>
                  <a:cubicBezTo>
                    <a:pt x="72" y="142"/>
                    <a:pt x="77" y="143"/>
                    <a:pt x="82" y="142"/>
                  </a:cubicBezTo>
                  <a:cubicBezTo>
                    <a:pt x="94" y="138"/>
                    <a:pt x="103" y="142"/>
                    <a:pt x="110" y="150"/>
                  </a:cubicBezTo>
                  <a:cubicBezTo>
                    <a:pt x="113" y="153"/>
                    <a:pt x="112" y="159"/>
                    <a:pt x="116" y="159"/>
                  </a:cubicBezTo>
                  <a:cubicBezTo>
                    <a:pt x="120" y="159"/>
                    <a:pt x="121" y="152"/>
                    <a:pt x="123" y="149"/>
                  </a:cubicBezTo>
                  <a:cubicBezTo>
                    <a:pt x="125" y="147"/>
                    <a:pt x="126" y="145"/>
                    <a:pt x="128" y="146"/>
                  </a:cubicBezTo>
                  <a:cubicBezTo>
                    <a:pt x="130" y="147"/>
                    <a:pt x="129" y="149"/>
                    <a:pt x="128" y="151"/>
                  </a:cubicBezTo>
                  <a:cubicBezTo>
                    <a:pt x="127" y="155"/>
                    <a:pt x="126" y="158"/>
                    <a:pt x="124" y="161"/>
                  </a:cubicBezTo>
                  <a:cubicBezTo>
                    <a:pt x="127" y="160"/>
                    <a:pt x="131" y="157"/>
                    <a:pt x="131" y="161"/>
                  </a:cubicBezTo>
                  <a:cubicBezTo>
                    <a:pt x="131" y="168"/>
                    <a:pt x="135" y="172"/>
                    <a:pt x="137" y="177"/>
                  </a:cubicBezTo>
                  <a:cubicBezTo>
                    <a:pt x="139" y="186"/>
                    <a:pt x="144" y="188"/>
                    <a:pt x="153" y="183"/>
                  </a:cubicBezTo>
                  <a:cubicBezTo>
                    <a:pt x="155" y="182"/>
                    <a:pt x="158" y="180"/>
                    <a:pt x="159" y="182"/>
                  </a:cubicBezTo>
                  <a:cubicBezTo>
                    <a:pt x="163" y="190"/>
                    <a:pt x="167" y="186"/>
                    <a:pt x="172" y="180"/>
                  </a:cubicBezTo>
                  <a:cubicBezTo>
                    <a:pt x="173" y="179"/>
                    <a:pt x="174" y="178"/>
                    <a:pt x="174" y="178"/>
                  </a:cubicBezTo>
                  <a:cubicBezTo>
                    <a:pt x="183" y="177"/>
                    <a:pt x="185" y="169"/>
                    <a:pt x="188" y="163"/>
                  </a:cubicBezTo>
                  <a:cubicBezTo>
                    <a:pt x="190" y="159"/>
                    <a:pt x="192" y="154"/>
                    <a:pt x="194" y="150"/>
                  </a:cubicBezTo>
                  <a:cubicBezTo>
                    <a:pt x="206" y="131"/>
                    <a:pt x="212" y="112"/>
                    <a:pt x="217" y="92"/>
                  </a:cubicBezTo>
                  <a:cubicBezTo>
                    <a:pt x="218" y="88"/>
                    <a:pt x="217" y="85"/>
                    <a:pt x="213" y="84"/>
                  </a:cubicBezTo>
                  <a:cubicBezTo>
                    <a:pt x="209" y="82"/>
                    <a:pt x="206" y="79"/>
                    <a:pt x="204" y="75"/>
                  </a:cubicBezTo>
                  <a:cubicBezTo>
                    <a:pt x="201" y="69"/>
                    <a:pt x="199" y="62"/>
                    <a:pt x="194" y="59"/>
                  </a:cubicBezTo>
                  <a:cubicBezTo>
                    <a:pt x="186" y="53"/>
                    <a:pt x="184" y="45"/>
                    <a:pt x="184" y="36"/>
                  </a:cubicBezTo>
                  <a:cubicBezTo>
                    <a:pt x="183" y="29"/>
                    <a:pt x="184" y="23"/>
                    <a:pt x="179" y="18"/>
                  </a:cubicBezTo>
                  <a:cubicBezTo>
                    <a:pt x="177" y="15"/>
                    <a:pt x="176" y="12"/>
                    <a:pt x="175" y="8"/>
                  </a:cubicBezTo>
                  <a:cubicBezTo>
                    <a:pt x="175" y="5"/>
                    <a:pt x="175" y="2"/>
                    <a:pt x="172" y="0"/>
                  </a:cubicBezTo>
                  <a:cubicBezTo>
                    <a:pt x="168" y="5"/>
                    <a:pt x="166" y="11"/>
                    <a:pt x="165" y="17"/>
                  </a:cubicBezTo>
                  <a:cubicBezTo>
                    <a:pt x="163" y="26"/>
                    <a:pt x="159" y="35"/>
                    <a:pt x="154" y="43"/>
                  </a:cubicBezTo>
                  <a:cubicBezTo>
                    <a:pt x="152" y="46"/>
                    <a:pt x="150" y="47"/>
                    <a:pt x="148" y="45"/>
                  </a:cubicBezTo>
                  <a:cubicBezTo>
                    <a:pt x="143" y="41"/>
                    <a:pt x="138" y="37"/>
                    <a:pt x="132" y="34"/>
                  </a:cubicBezTo>
                  <a:cubicBezTo>
                    <a:pt x="127" y="31"/>
                    <a:pt x="127" y="26"/>
                    <a:pt x="129" y="21"/>
                  </a:cubicBezTo>
                  <a:cubicBezTo>
                    <a:pt x="130" y="18"/>
                    <a:pt x="131" y="15"/>
                    <a:pt x="133" y="12"/>
                  </a:cubicBezTo>
                  <a:cubicBezTo>
                    <a:pt x="135" y="10"/>
                    <a:pt x="135" y="8"/>
                    <a:pt x="132" y="6"/>
                  </a:cubicBezTo>
                  <a:cubicBezTo>
                    <a:pt x="126" y="3"/>
                    <a:pt x="119" y="4"/>
                    <a:pt x="113" y="2"/>
                  </a:cubicBezTo>
                  <a:cubicBezTo>
                    <a:pt x="112" y="2"/>
                    <a:pt x="111" y="3"/>
                    <a:pt x="110" y="4"/>
                  </a:cubicBezTo>
                  <a:cubicBezTo>
                    <a:pt x="109" y="7"/>
                    <a:pt x="106" y="9"/>
                    <a:pt x="104" y="11"/>
                  </a:cubicBezTo>
                  <a:cubicBezTo>
                    <a:pt x="101" y="16"/>
                    <a:pt x="96" y="19"/>
                    <a:pt x="97" y="25"/>
                  </a:cubicBezTo>
                  <a:cubicBezTo>
                    <a:pt x="98" y="30"/>
                    <a:pt x="96" y="30"/>
                    <a:pt x="92" y="30"/>
                  </a:cubicBezTo>
                  <a:cubicBezTo>
                    <a:pt x="89" y="31"/>
                    <a:pt x="86" y="30"/>
                    <a:pt x="84" y="29"/>
                  </a:cubicBezTo>
                  <a:cubicBezTo>
                    <a:pt x="79" y="29"/>
                    <a:pt x="77" y="22"/>
                    <a:pt x="73" y="24"/>
                  </a:cubicBezTo>
                  <a:cubicBezTo>
                    <a:pt x="70" y="26"/>
                    <a:pt x="68" y="31"/>
                    <a:pt x="64" y="33"/>
                  </a:cubicBezTo>
                  <a:cubicBezTo>
                    <a:pt x="62" y="34"/>
                    <a:pt x="61" y="35"/>
                    <a:pt x="61" y="37"/>
                  </a:cubicBezTo>
                  <a:cubicBezTo>
                    <a:pt x="61" y="40"/>
                    <a:pt x="62" y="43"/>
                    <a:pt x="59" y="44"/>
                  </a:cubicBezTo>
                  <a:cubicBezTo>
                    <a:pt x="56" y="45"/>
                    <a:pt x="56" y="41"/>
                    <a:pt x="53" y="40"/>
                  </a:cubicBezTo>
                  <a:cubicBezTo>
                    <a:pt x="51" y="45"/>
                    <a:pt x="53" y="50"/>
                    <a:pt x="49" y="54"/>
                  </a:cubicBezTo>
                  <a:cubicBezTo>
                    <a:pt x="44" y="58"/>
                    <a:pt x="40" y="62"/>
                    <a:pt x="34" y="64"/>
                  </a:cubicBezTo>
                  <a:cubicBezTo>
                    <a:pt x="24" y="67"/>
                    <a:pt x="15" y="73"/>
                    <a:pt x="7" y="78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ïṧḻiḋé"/>
            <p:cNvSpPr/>
            <p:nvPr/>
          </p:nvSpPr>
          <p:spPr bwMode="auto">
            <a:xfrm>
              <a:off x="6051550" y="4018757"/>
              <a:ext cx="33338" cy="19050"/>
            </a:xfrm>
            <a:custGeom>
              <a:avLst/>
              <a:gdLst>
                <a:gd name="T0" fmla="*/ 4 w 10"/>
                <a:gd name="T1" fmla="*/ 0 h 6"/>
                <a:gd name="T2" fmla="*/ 0 w 10"/>
                <a:gd name="T3" fmla="*/ 3 h 6"/>
                <a:gd name="T4" fmla="*/ 5 w 10"/>
                <a:gd name="T5" fmla="*/ 6 h 6"/>
                <a:gd name="T6" fmla="*/ 10 w 10"/>
                <a:gd name="T7" fmla="*/ 3 h 6"/>
                <a:gd name="T8" fmla="*/ 4 w 10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4" y="0"/>
                  </a:moveTo>
                  <a:cubicBezTo>
                    <a:pt x="2" y="0"/>
                    <a:pt x="0" y="1"/>
                    <a:pt x="0" y="3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7" y="6"/>
                    <a:pt x="9" y="5"/>
                    <a:pt x="10" y="3"/>
                  </a:cubicBezTo>
                  <a:cubicBezTo>
                    <a:pt x="9" y="0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îṧḷídê"/>
            <p:cNvSpPr/>
            <p:nvPr/>
          </p:nvSpPr>
          <p:spPr bwMode="auto">
            <a:xfrm>
              <a:off x="6256337" y="3991769"/>
              <a:ext cx="22225" cy="23813"/>
            </a:xfrm>
            <a:custGeom>
              <a:avLst/>
              <a:gdLst>
                <a:gd name="T0" fmla="*/ 0 w 7"/>
                <a:gd name="T1" fmla="*/ 3 h 7"/>
                <a:gd name="T2" fmla="*/ 3 w 7"/>
                <a:gd name="T3" fmla="*/ 6 h 7"/>
                <a:gd name="T4" fmla="*/ 7 w 7"/>
                <a:gd name="T5" fmla="*/ 3 h 7"/>
                <a:gd name="T6" fmla="*/ 3 w 7"/>
                <a:gd name="T7" fmla="*/ 0 h 7"/>
                <a:gd name="T8" fmla="*/ 0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cubicBezTo>
                    <a:pt x="0" y="5"/>
                    <a:pt x="1" y="7"/>
                    <a:pt x="3" y="6"/>
                  </a:cubicBezTo>
                  <a:cubicBezTo>
                    <a:pt x="5" y="6"/>
                    <a:pt x="6" y="5"/>
                    <a:pt x="7" y="3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1"/>
                    <a:pt x="0" y="2"/>
                    <a:pt x="0" y="3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iṩ1îďê"/>
            <p:cNvSpPr/>
            <p:nvPr/>
          </p:nvSpPr>
          <p:spPr bwMode="auto">
            <a:xfrm>
              <a:off x="6281737" y="3850482"/>
              <a:ext cx="339725" cy="184150"/>
            </a:xfrm>
            <a:custGeom>
              <a:avLst/>
              <a:gdLst>
                <a:gd name="T0" fmla="*/ 84 w 103"/>
                <a:gd name="T1" fmla="*/ 28 h 56"/>
                <a:gd name="T2" fmla="*/ 42 w 103"/>
                <a:gd name="T3" fmla="*/ 10 h 56"/>
                <a:gd name="T4" fmla="*/ 29 w 103"/>
                <a:gd name="T5" fmla="*/ 12 h 56"/>
                <a:gd name="T6" fmla="*/ 16 w 103"/>
                <a:gd name="T7" fmla="*/ 9 h 56"/>
                <a:gd name="T8" fmla="*/ 0 w 103"/>
                <a:gd name="T9" fmla="*/ 2 h 56"/>
                <a:gd name="T10" fmla="*/ 5 w 103"/>
                <a:gd name="T11" fmla="*/ 6 h 56"/>
                <a:gd name="T12" fmla="*/ 8 w 103"/>
                <a:gd name="T13" fmla="*/ 13 h 56"/>
                <a:gd name="T14" fmla="*/ 8 w 103"/>
                <a:gd name="T15" fmla="*/ 18 h 56"/>
                <a:gd name="T16" fmla="*/ 32 w 103"/>
                <a:gd name="T17" fmla="*/ 26 h 56"/>
                <a:gd name="T18" fmla="*/ 33 w 103"/>
                <a:gd name="T19" fmla="*/ 46 h 56"/>
                <a:gd name="T20" fmla="*/ 43 w 103"/>
                <a:gd name="T21" fmla="*/ 46 h 56"/>
                <a:gd name="T22" fmla="*/ 58 w 103"/>
                <a:gd name="T23" fmla="*/ 51 h 56"/>
                <a:gd name="T24" fmla="*/ 66 w 103"/>
                <a:gd name="T25" fmla="*/ 48 h 56"/>
                <a:gd name="T26" fmla="*/ 86 w 103"/>
                <a:gd name="T27" fmla="*/ 49 h 56"/>
                <a:gd name="T28" fmla="*/ 103 w 103"/>
                <a:gd name="T29" fmla="*/ 56 h 56"/>
                <a:gd name="T30" fmla="*/ 97 w 103"/>
                <a:gd name="T31" fmla="*/ 49 h 56"/>
                <a:gd name="T32" fmla="*/ 92 w 103"/>
                <a:gd name="T33" fmla="*/ 40 h 56"/>
                <a:gd name="T34" fmla="*/ 84 w 103"/>
                <a:gd name="T35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3" h="56">
                  <a:moveTo>
                    <a:pt x="84" y="28"/>
                  </a:moveTo>
                  <a:cubicBezTo>
                    <a:pt x="71" y="20"/>
                    <a:pt x="57" y="14"/>
                    <a:pt x="42" y="10"/>
                  </a:cubicBezTo>
                  <a:cubicBezTo>
                    <a:pt x="37" y="8"/>
                    <a:pt x="33" y="8"/>
                    <a:pt x="29" y="12"/>
                  </a:cubicBezTo>
                  <a:cubicBezTo>
                    <a:pt x="24" y="18"/>
                    <a:pt x="17" y="16"/>
                    <a:pt x="16" y="9"/>
                  </a:cubicBezTo>
                  <a:cubicBezTo>
                    <a:pt x="14" y="2"/>
                    <a:pt x="9" y="0"/>
                    <a:pt x="0" y="2"/>
                  </a:cubicBezTo>
                  <a:cubicBezTo>
                    <a:pt x="1" y="4"/>
                    <a:pt x="3" y="6"/>
                    <a:pt x="5" y="6"/>
                  </a:cubicBezTo>
                  <a:cubicBezTo>
                    <a:pt x="9" y="7"/>
                    <a:pt x="13" y="8"/>
                    <a:pt x="8" y="13"/>
                  </a:cubicBezTo>
                  <a:cubicBezTo>
                    <a:pt x="5" y="15"/>
                    <a:pt x="5" y="19"/>
                    <a:pt x="8" y="18"/>
                  </a:cubicBezTo>
                  <a:cubicBezTo>
                    <a:pt x="19" y="16"/>
                    <a:pt x="25" y="22"/>
                    <a:pt x="32" y="26"/>
                  </a:cubicBezTo>
                  <a:cubicBezTo>
                    <a:pt x="42" y="32"/>
                    <a:pt x="42" y="36"/>
                    <a:pt x="33" y="46"/>
                  </a:cubicBezTo>
                  <a:cubicBezTo>
                    <a:pt x="38" y="44"/>
                    <a:pt x="41" y="45"/>
                    <a:pt x="43" y="46"/>
                  </a:cubicBezTo>
                  <a:cubicBezTo>
                    <a:pt x="48" y="48"/>
                    <a:pt x="53" y="49"/>
                    <a:pt x="58" y="51"/>
                  </a:cubicBezTo>
                  <a:cubicBezTo>
                    <a:pt x="61" y="52"/>
                    <a:pt x="63" y="51"/>
                    <a:pt x="66" y="48"/>
                  </a:cubicBezTo>
                  <a:cubicBezTo>
                    <a:pt x="73" y="40"/>
                    <a:pt x="83" y="40"/>
                    <a:pt x="86" y="49"/>
                  </a:cubicBezTo>
                  <a:cubicBezTo>
                    <a:pt x="89" y="56"/>
                    <a:pt x="96" y="56"/>
                    <a:pt x="103" y="56"/>
                  </a:cubicBezTo>
                  <a:cubicBezTo>
                    <a:pt x="102" y="53"/>
                    <a:pt x="99" y="51"/>
                    <a:pt x="97" y="49"/>
                  </a:cubicBezTo>
                  <a:cubicBezTo>
                    <a:pt x="94" y="47"/>
                    <a:pt x="91" y="44"/>
                    <a:pt x="92" y="40"/>
                  </a:cubicBezTo>
                  <a:cubicBezTo>
                    <a:pt x="92" y="33"/>
                    <a:pt x="89" y="30"/>
                    <a:pt x="84" y="28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íSľídê"/>
            <p:cNvSpPr/>
            <p:nvPr/>
          </p:nvSpPr>
          <p:spPr bwMode="auto">
            <a:xfrm>
              <a:off x="6618287" y="3899694"/>
              <a:ext cx="60325" cy="53975"/>
            </a:xfrm>
            <a:custGeom>
              <a:avLst/>
              <a:gdLst>
                <a:gd name="T0" fmla="*/ 4 w 18"/>
                <a:gd name="T1" fmla="*/ 15 h 16"/>
                <a:gd name="T2" fmla="*/ 18 w 18"/>
                <a:gd name="T3" fmla="*/ 3 h 16"/>
                <a:gd name="T4" fmla="*/ 15 w 18"/>
                <a:gd name="T5" fmla="*/ 1 h 16"/>
                <a:gd name="T6" fmla="*/ 3 w 18"/>
                <a:gd name="T7" fmla="*/ 8 h 16"/>
                <a:gd name="T8" fmla="*/ 1 w 18"/>
                <a:gd name="T9" fmla="*/ 13 h 16"/>
                <a:gd name="T10" fmla="*/ 4 w 18"/>
                <a:gd name="T11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4" y="15"/>
                  </a:moveTo>
                  <a:cubicBezTo>
                    <a:pt x="7" y="15"/>
                    <a:pt x="18" y="6"/>
                    <a:pt x="18" y="3"/>
                  </a:cubicBezTo>
                  <a:cubicBezTo>
                    <a:pt x="18" y="1"/>
                    <a:pt x="17" y="0"/>
                    <a:pt x="15" y="1"/>
                  </a:cubicBezTo>
                  <a:cubicBezTo>
                    <a:pt x="11" y="4"/>
                    <a:pt x="7" y="6"/>
                    <a:pt x="3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5"/>
                    <a:pt x="2" y="16"/>
                    <a:pt x="4" y="15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iṧlíďè"/>
            <p:cNvSpPr/>
            <p:nvPr/>
          </p:nvSpPr>
          <p:spPr bwMode="auto">
            <a:xfrm>
              <a:off x="6103937" y="3642519"/>
              <a:ext cx="82550" cy="69850"/>
            </a:xfrm>
            <a:custGeom>
              <a:avLst/>
              <a:gdLst>
                <a:gd name="T0" fmla="*/ 18 w 25"/>
                <a:gd name="T1" fmla="*/ 2 h 21"/>
                <a:gd name="T2" fmla="*/ 10 w 25"/>
                <a:gd name="T3" fmla="*/ 5 h 21"/>
                <a:gd name="T4" fmla="*/ 0 w 25"/>
                <a:gd name="T5" fmla="*/ 13 h 21"/>
                <a:gd name="T6" fmla="*/ 12 w 25"/>
                <a:gd name="T7" fmla="*/ 16 h 21"/>
                <a:gd name="T8" fmla="*/ 21 w 25"/>
                <a:gd name="T9" fmla="*/ 17 h 21"/>
                <a:gd name="T10" fmla="*/ 25 w 25"/>
                <a:gd name="T11" fmla="*/ 6 h 21"/>
                <a:gd name="T12" fmla="*/ 18 w 25"/>
                <a:gd name="T13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1">
                  <a:moveTo>
                    <a:pt x="18" y="2"/>
                  </a:moveTo>
                  <a:cubicBezTo>
                    <a:pt x="15" y="3"/>
                    <a:pt x="12" y="6"/>
                    <a:pt x="10" y="5"/>
                  </a:cubicBezTo>
                  <a:cubicBezTo>
                    <a:pt x="3" y="4"/>
                    <a:pt x="2" y="8"/>
                    <a:pt x="0" y="13"/>
                  </a:cubicBezTo>
                  <a:cubicBezTo>
                    <a:pt x="6" y="11"/>
                    <a:pt x="11" y="8"/>
                    <a:pt x="12" y="16"/>
                  </a:cubicBezTo>
                  <a:cubicBezTo>
                    <a:pt x="13" y="21"/>
                    <a:pt x="18" y="19"/>
                    <a:pt x="21" y="17"/>
                  </a:cubicBezTo>
                  <a:cubicBezTo>
                    <a:pt x="24" y="14"/>
                    <a:pt x="25" y="10"/>
                    <a:pt x="25" y="6"/>
                  </a:cubicBezTo>
                  <a:cubicBezTo>
                    <a:pt x="24" y="2"/>
                    <a:pt x="22" y="0"/>
                    <a:pt x="18" y="2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ïsḷíďé"/>
            <p:cNvSpPr/>
            <p:nvPr/>
          </p:nvSpPr>
          <p:spPr bwMode="auto">
            <a:xfrm>
              <a:off x="6176962" y="3877469"/>
              <a:ext cx="12700" cy="15875"/>
            </a:xfrm>
            <a:custGeom>
              <a:avLst/>
              <a:gdLst>
                <a:gd name="T0" fmla="*/ 2 w 4"/>
                <a:gd name="T1" fmla="*/ 0 h 5"/>
                <a:gd name="T2" fmla="*/ 0 w 4"/>
                <a:gd name="T3" fmla="*/ 3 h 5"/>
                <a:gd name="T4" fmla="*/ 1 w 4"/>
                <a:gd name="T5" fmla="*/ 5 h 5"/>
                <a:gd name="T6" fmla="*/ 4 w 4"/>
                <a:gd name="T7" fmla="*/ 3 h 5"/>
                <a:gd name="T8" fmla="*/ 2 w 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2" y="0"/>
                  </a:moveTo>
                  <a:cubicBezTo>
                    <a:pt x="0" y="1"/>
                    <a:pt x="0" y="1"/>
                    <a:pt x="0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3" y="5"/>
                    <a:pt x="4" y="4"/>
                    <a:pt x="4" y="3"/>
                  </a:cubicBezTo>
                  <a:cubicBezTo>
                    <a:pt x="4" y="1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iŝ1ïḍe"/>
            <p:cNvSpPr/>
            <p:nvPr/>
          </p:nvSpPr>
          <p:spPr bwMode="auto">
            <a:xfrm>
              <a:off x="6213475" y="3896519"/>
              <a:ext cx="42863" cy="23813"/>
            </a:xfrm>
            <a:custGeom>
              <a:avLst/>
              <a:gdLst>
                <a:gd name="T0" fmla="*/ 7 w 13"/>
                <a:gd name="T1" fmla="*/ 0 h 7"/>
                <a:gd name="T2" fmla="*/ 0 w 13"/>
                <a:gd name="T3" fmla="*/ 3 h 7"/>
                <a:gd name="T4" fmla="*/ 6 w 13"/>
                <a:gd name="T5" fmla="*/ 6 h 7"/>
                <a:gd name="T6" fmla="*/ 13 w 13"/>
                <a:gd name="T7" fmla="*/ 3 h 7"/>
                <a:gd name="T8" fmla="*/ 7 w 1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7" y="0"/>
                  </a:moveTo>
                  <a:cubicBezTo>
                    <a:pt x="4" y="0"/>
                    <a:pt x="0" y="0"/>
                    <a:pt x="0" y="3"/>
                  </a:cubicBezTo>
                  <a:cubicBezTo>
                    <a:pt x="0" y="7"/>
                    <a:pt x="4" y="6"/>
                    <a:pt x="6" y="6"/>
                  </a:cubicBezTo>
                  <a:cubicBezTo>
                    <a:pt x="9" y="6"/>
                    <a:pt x="13" y="7"/>
                    <a:pt x="13" y="3"/>
                  </a:cubicBezTo>
                  <a:cubicBezTo>
                    <a:pt x="13" y="0"/>
                    <a:pt x="9" y="0"/>
                    <a:pt x="7" y="0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îś1iḋe"/>
            <p:cNvSpPr/>
            <p:nvPr/>
          </p:nvSpPr>
          <p:spPr bwMode="auto">
            <a:xfrm>
              <a:off x="6034087" y="3817144"/>
              <a:ext cx="109538" cy="161925"/>
            </a:xfrm>
            <a:custGeom>
              <a:avLst/>
              <a:gdLst>
                <a:gd name="T0" fmla="*/ 2 w 33"/>
                <a:gd name="T1" fmla="*/ 20 h 49"/>
                <a:gd name="T2" fmla="*/ 7 w 33"/>
                <a:gd name="T3" fmla="*/ 49 h 49"/>
                <a:gd name="T4" fmla="*/ 8 w 33"/>
                <a:gd name="T5" fmla="*/ 29 h 49"/>
                <a:gd name="T6" fmla="*/ 10 w 33"/>
                <a:gd name="T7" fmla="*/ 26 h 49"/>
                <a:gd name="T8" fmla="*/ 14 w 33"/>
                <a:gd name="T9" fmla="*/ 29 h 49"/>
                <a:gd name="T10" fmla="*/ 17 w 33"/>
                <a:gd name="T11" fmla="*/ 40 h 49"/>
                <a:gd name="T12" fmla="*/ 20 w 33"/>
                <a:gd name="T13" fmla="*/ 42 h 49"/>
                <a:gd name="T14" fmla="*/ 22 w 33"/>
                <a:gd name="T15" fmla="*/ 39 h 49"/>
                <a:gd name="T16" fmla="*/ 18 w 33"/>
                <a:gd name="T17" fmla="*/ 26 h 49"/>
                <a:gd name="T18" fmla="*/ 16 w 33"/>
                <a:gd name="T19" fmla="*/ 16 h 49"/>
                <a:gd name="T20" fmla="*/ 21 w 33"/>
                <a:gd name="T21" fmla="*/ 17 h 49"/>
                <a:gd name="T22" fmla="*/ 26 w 33"/>
                <a:gd name="T23" fmla="*/ 16 h 49"/>
                <a:gd name="T24" fmla="*/ 21 w 33"/>
                <a:gd name="T25" fmla="*/ 13 h 49"/>
                <a:gd name="T26" fmla="*/ 13 w 33"/>
                <a:gd name="T27" fmla="*/ 14 h 49"/>
                <a:gd name="T28" fmla="*/ 13 w 33"/>
                <a:gd name="T29" fmla="*/ 14 h 49"/>
                <a:gd name="T30" fmla="*/ 13 w 33"/>
                <a:gd name="T31" fmla="*/ 14 h 49"/>
                <a:gd name="T32" fmla="*/ 8 w 33"/>
                <a:gd name="T33" fmla="*/ 10 h 49"/>
                <a:gd name="T34" fmla="*/ 12 w 33"/>
                <a:gd name="T35" fmla="*/ 5 h 49"/>
                <a:gd name="T36" fmla="*/ 23 w 33"/>
                <a:gd name="T37" fmla="*/ 3 h 49"/>
                <a:gd name="T38" fmla="*/ 33 w 33"/>
                <a:gd name="T39" fmla="*/ 2 h 49"/>
                <a:gd name="T40" fmla="*/ 29 w 33"/>
                <a:gd name="T41" fmla="*/ 0 h 49"/>
                <a:gd name="T42" fmla="*/ 2 w 33"/>
                <a:gd name="T43" fmla="*/ 2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49">
                  <a:moveTo>
                    <a:pt x="2" y="20"/>
                  </a:moveTo>
                  <a:cubicBezTo>
                    <a:pt x="0" y="30"/>
                    <a:pt x="3" y="39"/>
                    <a:pt x="7" y="49"/>
                  </a:cubicBezTo>
                  <a:cubicBezTo>
                    <a:pt x="10" y="42"/>
                    <a:pt x="5" y="36"/>
                    <a:pt x="8" y="29"/>
                  </a:cubicBezTo>
                  <a:cubicBezTo>
                    <a:pt x="8" y="28"/>
                    <a:pt x="8" y="26"/>
                    <a:pt x="10" y="26"/>
                  </a:cubicBezTo>
                  <a:cubicBezTo>
                    <a:pt x="12" y="26"/>
                    <a:pt x="13" y="27"/>
                    <a:pt x="14" y="29"/>
                  </a:cubicBezTo>
                  <a:cubicBezTo>
                    <a:pt x="15" y="32"/>
                    <a:pt x="16" y="36"/>
                    <a:pt x="17" y="40"/>
                  </a:cubicBezTo>
                  <a:cubicBezTo>
                    <a:pt x="18" y="41"/>
                    <a:pt x="19" y="42"/>
                    <a:pt x="20" y="42"/>
                  </a:cubicBezTo>
                  <a:cubicBezTo>
                    <a:pt x="22" y="42"/>
                    <a:pt x="22" y="40"/>
                    <a:pt x="22" y="39"/>
                  </a:cubicBezTo>
                  <a:cubicBezTo>
                    <a:pt x="23" y="34"/>
                    <a:pt x="21" y="30"/>
                    <a:pt x="18" y="26"/>
                  </a:cubicBezTo>
                  <a:cubicBezTo>
                    <a:pt x="15" y="23"/>
                    <a:pt x="9" y="21"/>
                    <a:pt x="16" y="16"/>
                  </a:cubicBezTo>
                  <a:cubicBezTo>
                    <a:pt x="18" y="16"/>
                    <a:pt x="19" y="16"/>
                    <a:pt x="21" y="17"/>
                  </a:cubicBezTo>
                  <a:cubicBezTo>
                    <a:pt x="23" y="17"/>
                    <a:pt x="26" y="18"/>
                    <a:pt x="26" y="16"/>
                  </a:cubicBezTo>
                  <a:cubicBezTo>
                    <a:pt x="26" y="13"/>
                    <a:pt x="23" y="13"/>
                    <a:pt x="21" y="13"/>
                  </a:cubicBezTo>
                  <a:cubicBezTo>
                    <a:pt x="19" y="13"/>
                    <a:pt x="16" y="13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1" y="13"/>
                    <a:pt x="8" y="13"/>
                    <a:pt x="8" y="10"/>
                  </a:cubicBezTo>
                  <a:cubicBezTo>
                    <a:pt x="8" y="8"/>
                    <a:pt x="9" y="6"/>
                    <a:pt x="12" y="5"/>
                  </a:cubicBezTo>
                  <a:cubicBezTo>
                    <a:pt x="16" y="3"/>
                    <a:pt x="19" y="2"/>
                    <a:pt x="23" y="3"/>
                  </a:cubicBezTo>
                  <a:cubicBezTo>
                    <a:pt x="27" y="4"/>
                    <a:pt x="30" y="3"/>
                    <a:pt x="33" y="2"/>
                  </a:cubicBezTo>
                  <a:cubicBezTo>
                    <a:pt x="32" y="0"/>
                    <a:pt x="30" y="0"/>
                    <a:pt x="29" y="0"/>
                  </a:cubicBezTo>
                  <a:cubicBezTo>
                    <a:pt x="4" y="1"/>
                    <a:pt x="6" y="2"/>
                    <a:pt x="2" y="20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îśḻidè"/>
            <p:cNvSpPr/>
            <p:nvPr/>
          </p:nvSpPr>
          <p:spPr bwMode="auto">
            <a:xfrm>
              <a:off x="6067425" y="3709194"/>
              <a:ext cx="14288" cy="12700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2 h 4"/>
                <a:gd name="T6" fmla="*/ 1 w 4"/>
                <a:gd name="T7" fmla="*/ 0 h 4"/>
                <a:gd name="T8" fmla="*/ 0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3" y="1"/>
                    <a:pt x="3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iṥḷiďé"/>
            <p:cNvSpPr/>
            <p:nvPr/>
          </p:nvSpPr>
          <p:spPr bwMode="auto">
            <a:xfrm>
              <a:off x="5256212" y="3623469"/>
              <a:ext cx="39688" cy="55563"/>
            </a:xfrm>
            <a:custGeom>
              <a:avLst/>
              <a:gdLst>
                <a:gd name="T0" fmla="*/ 4 w 12"/>
                <a:gd name="T1" fmla="*/ 1 h 17"/>
                <a:gd name="T2" fmla="*/ 0 w 12"/>
                <a:gd name="T3" fmla="*/ 9 h 17"/>
                <a:gd name="T4" fmla="*/ 6 w 12"/>
                <a:gd name="T5" fmla="*/ 17 h 17"/>
                <a:gd name="T6" fmla="*/ 11 w 12"/>
                <a:gd name="T7" fmla="*/ 12 h 17"/>
                <a:gd name="T8" fmla="*/ 4 w 12"/>
                <a:gd name="T9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">
                  <a:moveTo>
                    <a:pt x="4" y="1"/>
                  </a:moveTo>
                  <a:cubicBezTo>
                    <a:pt x="0" y="0"/>
                    <a:pt x="1" y="5"/>
                    <a:pt x="0" y="9"/>
                  </a:cubicBezTo>
                  <a:cubicBezTo>
                    <a:pt x="1" y="12"/>
                    <a:pt x="0" y="16"/>
                    <a:pt x="6" y="17"/>
                  </a:cubicBezTo>
                  <a:cubicBezTo>
                    <a:pt x="9" y="17"/>
                    <a:pt x="12" y="15"/>
                    <a:pt x="11" y="12"/>
                  </a:cubicBezTo>
                  <a:cubicBezTo>
                    <a:pt x="10" y="8"/>
                    <a:pt x="10" y="2"/>
                    <a:pt x="4" y="1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îsḻíḑe"/>
            <p:cNvSpPr/>
            <p:nvPr/>
          </p:nvSpPr>
          <p:spPr bwMode="auto">
            <a:xfrm>
              <a:off x="6116637" y="4006057"/>
              <a:ext cx="79375" cy="55563"/>
            </a:xfrm>
            <a:custGeom>
              <a:avLst/>
              <a:gdLst>
                <a:gd name="T0" fmla="*/ 19 w 24"/>
                <a:gd name="T1" fmla="*/ 1 h 17"/>
                <a:gd name="T2" fmla="*/ 2 w 24"/>
                <a:gd name="T3" fmla="*/ 14 h 17"/>
                <a:gd name="T4" fmla="*/ 5 w 24"/>
                <a:gd name="T5" fmla="*/ 17 h 17"/>
                <a:gd name="T6" fmla="*/ 22 w 24"/>
                <a:gd name="T7" fmla="*/ 6 h 17"/>
                <a:gd name="T8" fmla="*/ 19 w 24"/>
                <a:gd name="T9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19" y="1"/>
                  </a:moveTo>
                  <a:cubicBezTo>
                    <a:pt x="12" y="4"/>
                    <a:pt x="6" y="7"/>
                    <a:pt x="2" y="14"/>
                  </a:cubicBezTo>
                  <a:cubicBezTo>
                    <a:pt x="0" y="16"/>
                    <a:pt x="1" y="17"/>
                    <a:pt x="5" y="17"/>
                  </a:cubicBezTo>
                  <a:cubicBezTo>
                    <a:pt x="10" y="14"/>
                    <a:pt x="17" y="11"/>
                    <a:pt x="22" y="6"/>
                  </a:cubicBezTo>
                  <a:cubicBezTo>
                    <a:pt x="24" y="3"/>
                    <a:pt x="22" y="0"/>
                    <a:pt x="19" y="1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iŝļíḍe"/>
            <p:cNvSpPr/>
            <p:nvPr/>
          </p:nvSpPr>
          <p:spPr bwMode="auto">
            <a:xfrm>
              <a:off x="6067425" y="3436144"/>
              <a:ext cx="103188" cy="150813"/>
            </a:xfrm>
            <a:custGeom>
              <a:avLst/>
              <a:gdLst>
                <a:gd name="T0" fmla="*/ 13 w 31"/>
                <a:gd name="T1" fmla="*/ 11 h 46"/>
                <a:gd name="T2" fmla="*/ 14 w 31"/>
                <a:gd name="T3" fmla="*/ 10 h 46"/>
                <a:gd name="T4" fmla="*/ 10 w 31"/>
                <a:gd name="T5" fmla="*/ 2 h 46"/>
                <a:gd name="T6" fmla="*/ 2 w 31"/>
                <a:gd name="T7" fmla="*/ 6 h 46"/>
                <a:gd name="T8" fmla="*/ 1 w 31"/>
                <a:gd name="T9" fmla="*/ 25 h 46"/>
                <a:gd name="T10" fmla="*/ 6 w 31"/>
                <a:gd name="T11" fmla="*/ 30 h 46"/>
                <a:gd name="T12" fmla="*/ 22 w 31"/>
                <a:gd name="T13" fmla="*/ 43 h 46"/>
                <a:gd name="T14" fmla="*/ 23 w 31"/>
                <a:gd name="T15" fmla="*/ 46 h 46"/>
                <a:gd name="T16" fmla="*/ 25 w 31"/>
                <a:gd name="T17" fmla="*/ 42 h 46"/>
                <a:gd name="T18" fmla="*/ 25 w 31"/>
                <a:gd name="T19" fmla="*/ 42 h 46"/>
                <a:gd name="T20" fmla="*/ 26 w 31"/>
                <a:gd name="T21" fmla="*/ 42 h 46"/>
                <a:gd name="T22" fmla="*/ 29 w 31"/>
                <a:gd name="T23" fmla="*/ 44 h 46"/>
                <a:gd name="T24" fmla="*/ 28 w 31"/>
                <a:gd name="T25" fmla="*/ 41 h 46"/>
                <a:gd name="T26" fmla="*/ 17 w 31"/>
                <a:gd name="T27" fmla="*/ 30 h 46"/>
                <a:gd name="T28" fmla="*/ 8 w 31"/>
                <a:gd name="T29" fmla="*/ 20 h 46"/>
                <a:gd name="T30" fmla="*/ 13 w 31"/>
                <a:gd name="T31" fmla="*/ 1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6">
                  <a:moveTo>
                    <a:pt x="13" y="11"/>
                  </a:moveTo>
                  <a:cubicBezTo>
                    <a:pt x="13" y="10"/>
                    <a:pt x="13" y="10"/>
                    <a:pt x="14" y="10"/>
                  </a:cubicBezTo>
                  <a:cubicBezTo>
                    <a:pt x="15" y="6"/>
                    <a:pt x="14" y="3"/>
                    <a:pt x="10" y="2"/>
                  </a:cubicBezTo>
                  <a:cubicBezTo>
                    <a:pt x="6" y="0"/>
                    <a:pt x="3" y="2"/>
                    <a:pt x="2" y="6"/>
                  </a:cubicBezTo>
                  <a:cubicBezTo>
                    <a:pt x="0" y="12"/>
                    <a:pt x="0" y="18"/>
                    <a:pt x="1" y="25"/>
                  </a:cubicBezTo>
                  <a:cubicBezTo>
                    <a:pt x="1" y="27"/>
                    <a:pt x="4" y="29"/>
                    <a:pt x="6" y="30"/>
                  </a:cubicBezTo>
                  <a:cubicBezTo>
                    <a:pt x="15" y="31"/>
                    <a:pt x="19" y="37"/>
                    <a:pt x="22" y="43"/>
                  </a:cubicBezTo>
                  <a:cubicBezTo>
                    <a:pt x="22" y="44"/>
                    <a:pt x="21" y="46"/>
                    <a:pt x="23" y="46"/>
                  </a:cubicBezTo>
                  <a:cubicBezTo>
                    <a:pt x="25" y="46"/>
                    <a:pt x="25" y="44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6" y="42"/>
                    <a:pt x="26" y="42"/>
                  </a:cubicBezTo>
                  <a:cubicBezTo>
                    <a:pt x="27" y="43"/>
                    <a:pt x="28" y="45"/>
                    <a:pt x="29" y="44"/>
                  </a:cubicBezTo>
                  <a:cubicBezTo>
                    <a:pt x="31" y="43"/>
                    <a:pt x="29" y="42"/>
                    <a:pt x="28" y="41"/>
                  </a:cubicBezTo>
                  <a:cubicBezTo>
                    <a:pt x="24" y="37"/>
                    <a:pt x="20" y="34"/>
                    <a:pt x="17" y="30"/>
                  </a:cubicBezTo>
                  <a:cubicBezTo>
                    <a:pt x="14" y="27"/>
                    <a:pt x="9" y="24"/>
                    <a:pt x="8" y="20"/>
                  </a:cubicBezTo>
                  <a:cubicBezTo>
                    <a:pt x="7" y="16"/>
                    <a:pt x="12" y="14"/>
                    <a:pt x="13" y="11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îṥḷiḓê"/>
            <p:cNvSpPr/>
            <p:nvPr/>
          </p:nvSpPr>
          <p:spPr bwMode="auto">
            <a:xfrm>
              <a:off x="6437312" y="1975644"/>
              <a:ext cx="46038" cy="36513"/>
            </a:xfrm>
            <a:custGeom>
              <a:avLst/>
              <a:gdLst>
                <a:gd name="T0" fmla="*/ 9 w 14"/>
                <a:gd name="T1" fmla="*/ 11 h 11"/>
                <a:gd name="T2" fmla="*/ 11 w 14"/>
                <a:gd name="T3" fmla="*/ 11 h 11"/>
                <a:gd name="T4" fmla="*/ 14 w 14"/>
                <a:gd name="T5" fmla="*/ 9 h 11"/>
                <a:gd name="T6" fmla="*/ 9 w 14"/>
                <a:gd name="T7" fmla="*/ 7 h 11"/>
                <a:gd name="T8" fmla="*/ 6 w 14"/>
                <a:gd name="T9" fmla="*/ 5 h 11"/>
                <a:gd name="T10" fmla="*/ 2 w 14"/>
                <a:gd name="T11" fmla="*/ 2 h 11"/>
                <a:gd name="T12" fmla="*/ 1 w 14"/>
                <a:gd name="T13" fmla="*/ 7 h 11"/>
                <a:gd name="T14" fmla="*/ 7 w 14"/>
                <a:gd name="T15" fmla="*/ 11 h 11"/>
                <a:gd name="T16" fmla="*/ 9 w 14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1">
                  <a:moveTo>
                    <a:pt x="9" y="11"/>
                  </a:moveTo>
                  <a:cubicBezTo>
                    <a:pt x="9" y="11"/>
                    <a:pt x="10" y="11"/>
                    <a:pt x="11" y="11"/>
                  </a:cubicBezTo>
                  <a:cubicBezTo>
                    <a:pt x="12" y="11"/>
                    <a:pt x="14" y="11"/>
                    <a:pt x="14" y="9"/>
                  </a:cubicBezTo>
                  <a:cubicBezTo>
                    <a:pt x="14" y="7"/>
                    <a:pt x="11" y="7"/>
                    <a:pt x="9" y="7"/>
                  </a:cubicBezTo>
                  <a:cubicBezTo>
                    <a:pt x="8" y="6"/>
                    <a:pt x="7" y="5"/>
                    <a:pt x="6" y="5"/>
                  </a:cubicBezTo>
                  <a:cubicBezTo>
                    <a:pt x="5" y="3"/>
                    <a:pt x="4" y="0"/>
                    <a:pt x="2" y="2"/>
                  </a:cubicBezTo>
                  <a:cubicBezTo>
                    <a:pt x="0" y="2"/>
                    <a:pt x="1" y="5"/>
                    <a:pt x="1" y="7"/>
                  </a:cubicBezTo>
                  <a:cubicBezTo>
                    <a:pt x="2" y="11"/>
                    <a:pt x="4" y="11"/>
                    <a:pt x="7" y="11"/>
                  </a:cubicBezTo>
                  <a:cubicBezTo>
                    <a:pt x="7" y="11"/>
                    <a:pt x="8" y="11"/>
                    <a:pt x="9" y="11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ïSļiďé"/>
            <p:cNvSpPr/>
            <p:nvPr/>
          </p:nvSpPr>
          <p:spPr bwMode="auto">
            <a:xfrm>
              <a:off x="6470650" y="1923257"/>
              <a:ext cx="39688" cy="23813"/>
            </a:xfrm>
            <a:custGeom>
              <a:avLst/>
              <a:gdLst>
                <a:gd name="T0" fmla="*/ 7 w 12"/>
                <a:gd name="T1" fmla="*/ 6 h 7"/>
                <a:gd name="T2" fmla="*/ 11 w 12"/>
                <a:gd name="T3" fmla="*/ 3 h 7"/>
                <a:gd name="T4" fmla="*/ 5 w 12"/>
                <a:gd name="T5" fmla="*/ 0 h 7"/>
                <a:gd name="T6" fmla="*/ 0 w 12"/>
                <a:gd name="T7" fmla="*/ 0 h 7"/>
                <a:gd name="T8" fmla="*/ 7 w 12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7" y="6"/>
                  </a:moveTo>
                  <a:cubicBezTo>
                    <a:pt x="9" y="6"/>
                    <a:pt x="12" y="5"/>
                    <a:pt x="11" y="3"/>
                  </a:cubicBezTo>
                  <a:cubicBezTo>
                    <a:pt x="9" y="0"/>
                    <a:pt x="7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2" y="4"/>
                    <a:pt x="3" y="7"/>
                    <a:pt x="7" y="6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3" name="íṥ1íḍè"/>
            <p:cNvSpPr/>
            <p:nvPr/>
          </p:nvSpPr>
          <p:spPr bwMode="auto">
            <a:xfrm>
              <a:off x="6378575" y="1920082"/>
              <a:ext cx="88900" cy="46038"/>
            </a:xfrm>
            <a:custGeom>
              <a:avLst/>
              <a:gdLst>
                <a:gd name="T0" fmla="*/ 10 w 27"/>
                <a:gd name="T1" fmla="*/ 12 h 14"/>
                <a:gd name="T2" fmla="*/ 27 w 27"/>
                <a:gd name="T3" fmla="*/ 13 h 14"/>
                <a:gd name="T4" fmla="*/ 24 w 27"/>
                <a:gd name="T5" fmla="*/ 4 h 14"/>
                <a:gd name="T6" fmla="*/ 21 w 27"/>
                <a:gd name="T7" fmla="*/ 2 h 14"/>
                <a:gd name="T8" fmla="*/ 10 w 27"/>
                <a:gd name="T9" fmla="*/ 1 h 14"/>
                <a:gd name="T10" fmla="*/ 2 w 27"/>
                <a:gd name="T11" fmla="*/ 3 h 14"/>
                <a:gd name="T12" fmla="*/ 2 w 27"/>
                <a:gd name="T13" fmla="*/ 10 h 14"/>
                <a:gd name="T14" fmla="*/ 10 w 27"/>
                <a:gd name="T15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4">
                  <a:moveTo>
                    <a:pt x="10" y="12"/>
                  </a:moveTo>
                  <a:cubicBezTo>
                    <a:pt x="15" y="9"/>
                    <a:pt x="20" y="10"/>
                    <a:pt x="27" y="13"/>
                  </a:cubicBezTo>
                  <a:cubicBezTo>
                    <a:pt x="26" y="9"/>
                    <a:pt x="24" y="7"/>
                    <a:pt x="24" y="4"/>
                  </a:cubicBezTo>
                  <a:cubicBezTo>
                    <a:pt x="24" y="3"/>
                    <a:pt x="22" y="1"/>
                    <a:pt x="21" y="2"/>
                  </a:cubicBezTo>
                  <a:cubicBezTo>
                    <a:pt x="17" y="7"/>
                    <a:pt x="14" y="3"/>
                    <a:pt x="10" y="1"/>
                  </a:cubicBezTo>
                  <a:cubicBezTo>
                    <a:pt x="7" y="0"/>
                    <a:pt x="4" y="0"/>
                    <a:pt x="2" y="3"/>
                  </a:cubicBezTo>
                  <a:cubicBezTo>
                    <a:pt x="0" y="5"/>
                    <a:pt x="1" y="7"/>
                    <a:pt x="2" y="10"/>
                  </a:cubicBezTo>
                  <a:cubicBezTo>
                    <a:pt x="4" y="13"/>
                    <a:pt x="8" y="14"/>
                    <a:pt x="10" y="12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4" name="ïsḷîḍe"/>
            <p:cNvSpPr/>
            <p:nvPr/>
          </p:nvSpPr>
          <p:spPr bwMode="auto">
            <a:xfrm>
              <a:off x="7018337" y="4456907"/>
              <a:ext cx="82550" cy="134938"/>
            </a:xfrm>
            <a:custGeom>
              <a:avLst/>
              <a:gdLst>
                <a:gd name="T0" fmla="*/ 4 w 25"/>
                <a:gd name="T1" fmla="*/ 34 h 41"/>
                <a:gd name="T2" fmla="*/ 5 w 25"/>
                <a:gd name="T3" fmla="*/ 38 h 41"/>
                <a:gd name="T4" fmla="*/ 5 w 25"/>
                <a:gd name="T5" fmla="*/ 41 h 41"/>
                <a:gd name="T6" fmla="*/ 9 w 25"/>
                <a:gd name="T7" fmla="*/ 38 h 41"/>
                <a:gd name="T8" fmla="*/ 20 w 25"/>
                <a:gd name="T9" fmla="*/ 26 h 41"/>
                <a:gd name="T10" fmla="*/ 25 w 25"/>
                <a:gd name="T11" fmla="*/ 19 h 41"/>
                <a:gd name="T12" fmla="*/ 23 w 25"/>
                <a:gd name="T13" fmla="*/ 17 h 41"/>
                <a:gd name="T14" fmla="*/ 21 w 25"/>
                <a:gd name="T15" fmla="*/ 18 h 41"/>
                <a:gd name="T16" fmla="*/ 19 w 25"/>
                <a:gd name="T17" fmla="*/ 15 h 41"/>
                <a:gd name="T18" fmla="*/ 16 w 25"/>
                <a:gd name="T19" fmla="*/ 13 h 41"/>
                <a:gd name="T20" fmla="*/ 12 w 25"/>
                <a:gd name="T21" fmla="*/ 11 h 41"/>
                <a:gd name="T22" fmla="*/ 6 w 25"/>
                <a:gd name="T23" fmla="*/ 0 h 41"/>
                <a:gd name="T24" fmla="*/ 9 w 25"/>
                <a:gd name="T25" fmla="*/ 10 h 41"/>
                <a:gd name="T26" fmla="*/ 5 w 25"/>
                <a:gd name="T27" fmla="*/ 26 h 41"/>
                <a:gd name="T28" fmla="*/ 4 w 25"/>
                <a:gd name="T29" fmla="*/ 3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41">
                  <a:moveTo>
                    <a:pt x="4" y="34"/>
                  </a:moveTo>
                  <a:cubicBezTo>
                    <a:pt x="5" y="34"/>
                    <a:pt x="6" y="36"/>
                    <a:pt x="5" y="38"/>
                  </a:cubicBezTo>
                  <a:cubicBezTo>
                    <a:pt x="5" y="39"/>
                    <a:pt x="3" y="41"/>
                    <a:pt x="5" y="41"/>
                  </a:cubicBezTo>
                  <a:cubicBezTo>
                    <a:pt x="7" y="41"/>
                    <a:pt x="8" y="39"/>
                    <a:pt x="9" y="38"/>
                  </a:cubicBezTo>
                  <a:cubicBezTo>
                    <a:pt x="12" y="33"/>
                    <a:pt x="14" y="29"/>
                    <a:pt x="20" y="26"/>
                  </a:cubicBezTo>
                  <a:cubicBezTo>
                    <a:pt x="22" y="25"/>
                    <a:pt x="24" y="21"/>
                    <a:pt x="25" y="19"/>
                  </a:cubicBezTo>
                  <a:cubicBezTo>
                    <a:pt x="25" y="16"/>
                    <a:pt x="24" y="17"/>
                    <a:pt x="23" y="17"/>
                  </a:cubicBezTo>
                  <a:cubicBezTo>
                    <a:pt x="22" y="18"/>
                    <a:pt x="21" y="18"/>
                    <a:pt x="21" y="18"/>
                  </a:cubicBezTo>
                  <a:cubicBezTo>
                    <a:pt x="20" y="17"/>
                    <a:pt x="19" y="16"/>
                    <a:pt x="19" y="15"/>
                  </a:cubicBezTo>
                  <a:cubicBezTo>
                    <a:pt x="19" y="13"/>
                    <a:pt x="19" y="12"/>
                    <a:pt x="16" y="13"/>
                  </a:cubicBezTo>
                  <a:cubicBezTo>
                    <a:pt x="12" y="16"/>
                    <a:pt x="12" y="13"/>
                    <a:pt x="12" y="11"/>
                  </a:cubicBezTo>
                  <a:cubicBezTo>
                    <a:pt x="11" y="7"/>
                    <a:pt x="11" y="2"/>
                    <a:pt x="6" y="0"/>
                  </a:cubicBezTo>
                  <a:cubicBezTo>
                    <a:pt x="7" y="4"/>
                    <a:pt x="8" y="7"/>
                    <a:pt x="9" y="10"/>
                  </a:cubicBezTo>
                  <a:cubicBezTo>
                    <a:pt x="10" y="14"/>
                    <a:pt x="10" y="20"/>
                    <a:pt x="5" y="26"/>
                  </a:cubicBezTo>
                  <a:cubicBezTo>
                    <a:pt x="1" y="30"/>
                    <a:pt x="0" y="32"/>
                    <a:pt x="4" y="34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5" name="ísḷidé"/>
            <p:cNvSpPr/>
            <p:nvPr/>
          </p:nvSpPr>
          <p:spPr bwMode="auto">
            <a:xfrm>
              <a:off x="6202362" y="3810794"/>
              <a:ext cx="23813" cy="39688"/>
            </a:xfrm>
            <a:custGeom>
              <a:avLst/>
              <a:gdLst>
                <a:gd name="T0" fmla="*/ 4 w 7"/>
                <a:gd name="T1" fmla="*/ 0 h 12"/>
                <a:gd name="T2" fmla="*/ 1 w 7"/>
                <a:gd name="T3" fmla="*/ 7 h 12"/>
                <a:gd name="T4" fmla="*/ 2 w 7"/>
                <a:gd name="T5" fmla="*/ 12 h 12"/>
                <a:gd name="T6" fmla="*/ 6 w 7"/>
                <a:gd name="T7" fmla="*/ 4 h 12"/>
                <a:gd name="T8" fmla="*/ 4 w 7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4" y="0"/>
                  </a:moveTo>
                  <a:cubicBezTo>
                    <a:pt x="0" y="1"/>
                    <a:pt x="1" y="4"/>
                    <a:pt x="1" y="7"/>
                  </a:cubicBezTo>
                  <a:cubicBezTo>
                    <a:pt x="1" y="8"/>
                    <a:pt x="0" y="12"/>
                    <a:pt x="2" y="12"/>
                  </a:cubicBezTo>
                  <a:cubicBezTo>
                    <a:pt x="6" y="11"/>
                    <a:pt x="6" y="7"/>
                    <a:pt x="6" y="4"/>
                  </a:cubicBezTo>
                  <a:cubicBezTo>
                    <a:pt x="7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6" name="îsḻîḍé"/>
            <p:cNvSpPr/>
            <p:nvPr/>
          </p:nvSpPr>
          <p:spPr bwMode="auto">
            <a:xfrm>
              <a:off x="4629150" y="4012407"/>
              <a:ext cx="106363" cy="269875"/>
            </a:xfrm>
            <a:custGeom>
              <a:avLst/>
              <a:gdLst>
                <a:gd name="T0" fmla="*/ 10 w 32"/>
                <a:gd name="T1" fmla="*/ 18 h 82"/>
                <a:gd name="T2" fmla="*/ 3 w 32"/>
                <a:gd name="T3" fmla="*/ 36 h 82"/>
                <a:gd name="T4" fmla="*/ 5 w 32"/>
                <a:gd name="T5" fmla="*/ 48 h 82"/>
                <a:gd name="T6" fmla="*/ 11 w 32"/>
                <a:gd name="T7" fmla="*/ 72 h 82"/>
                <a:gd name="T8" fmla="*/ 29 w 32"/>
                <a:gd name="T9" fmla="*/ 78 h 82"/>
                <a:gd name="T10" fmla="*/ 30 w 32"/>
                <a:gd name="T11" fmla="*/ 73 h 82"/>
                <a:gd name="T12" fmla="*/ 31 w 32"/>
                <a:gd name="T13" fmla="*/ 21 h 82"/>
                <a:gd name="T14" fmla="*/ 22 w 32"/>
                <a:gd name="T15" fmla="*/ 0 h 82"/>
                <a:gd name="T16" fmla="*/ 10 w 32"/>
                <a:gd name="T17" fmla="*/ 1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82">
                  <a:moveTo>
                    <a:pt x="10" y="18"/>
                  </a:moveTo>
                  <a:cubicBezTo>
                    <a:pt x="2" y="21"/>
                    <a:pt x="0" y="27"/>
                    <a:pt x="3" y="36"/>
                  </a:cubicBezTo>
                  <a:cubicBezTo>
                    <a:pt x="4" y="40"/>
                    <a:pt x="7" y="45"/>
                    <a:pt x="5" y="48"/>
                  </a:cubicBezTo>
                  <a:cubicBezTo>
                    <a:pt x="2" y="56"/>
                    <a:pt x="6" y="64"/>
                    <a:pt x="11" y="72"/>
                  </a:cubicBezTo>
                  <a:cubicBezTo>
                    <a:pt x="17" y="82"/>
                    <a:pt x="22" y="81"/>
                    <a:pt x="29" y="78"/>
                  </a:cubicBezTo>
                  <a:cubicBezTo>
                    <a:pt x="30" y="78"/>
                    <a:pt x="30" y="75"/>
                    <a:pt x="30" y="73"/>
                  </a:cubicBezTo>
                  <a:cubicBezTo>
                    <a:pt x="32" y="57"/>
                    <a:pt x="29" y="38"/>
                    <a:pt x="31" y="21"/>
                  </a:cubicBezTo>
                  <a:cubicBezTo>
                    <a:pt x="32" y="15"/>
                    <a:pt x="29" y="8"/>
                    <a:pt x="22" y="0"/>
                  </a:cubicBezTo>
                  <a:cubicBezTo>
                    <a:pt x="23" y="10"/>
                    <a:pt x="18" y="16"/>
                    <a:pt x="10" y="18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7" name="îšḷïḋê"/>
            <p:cNvSpPr/>
            <p:nvPr/>
          </p:nvSpPr>
          <p:spPr bwMode="auto">
            <a:xfrm>
              <a:off x="4441825" y="3353594"/>
              <a:ext cx="241300" cy="447675"/>
            </a:xfrm>
            <a:custGeom>
              <a:avLst/>
              <a:gdLst>
                <a:gd name="T0" fmla="*/ 35 w 73"/>
                <a:gd name="T1" fmla="*/ 111 h 136"/>
                <a:gd name="T2" fmla="*/ 54 w 73"/>
                <a:gd name="T3" fmla="*/ 92 h 136"/>
                <a:gd name="T4" fmla="*/ 73 w 73"/>
                <a:gd name="T5" fmla="*/ 49 h 136"/>
                <a:gd name="T6" fmla="*/ 52 w 73"/>
                <a:gd name="T7" fmla="*/ 50 h 136"/>
                <a:gd name="T8" fmla="*/ 24 w 73"/>
                <a:gd name="T9" fmla="*/ 43 h 136"/>
                <a:gd name="T10" fmla="*/ 10 w 73"/>
                <a:gd name="T11" fmla="*/ 26 h 136"/>
                <a:gd name="T12" fmla="*/ 0 w 73"/>
                <a:gd name="T13" fmla="*/ 13 h 136"/>
                <a:gd name="T14" fmla="*/ 1 w 73"/>
                <a:gd name="T15" fmla="*/ 0 h 136"/>
                <a:gd name="T16" fmla="*/ 0 w 73"/>
                <a:gd name="T17" fmla="*/ 23 h 136"/>
                <a:gd name="T18" fmla="*/ 13 w 73"/>
                <a:gd name="T19" fmla="*/ 136 h 136"/>
                <a:gd name="T20" fmla="*/ 35 w 73"/>
                <a:gd name="T21" fmla="*/ 11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136">
                  <a:moveTo>
                    <a:pt x="35" y="111"/>
                  </a:moveTo>
                  <a:cubicBezTo>
                    <a:pt x="43" y="106"/>
                    <a:pt x="49" y="99"/>
                    <a:pt x="54" y="92"/>
                  </a:cubicBezTo>
                  <a:cubicBezTo>
                    <a:pt x="63" y="79"/>
                    <a:pt x="68" y="64"/>
                    <a:pt x="73" y="49"/>
                  </a:cubicBezTo>
                  <a:cubicBezTo>
                    <a:pt x="66" y="49"/>
                    <a:pt x="59" y="50"/>
                    <a:pt x="52" y="50"/>
                  </a:cubicBezTo>
                  <a:cubicBezTo>
                    <a:pt x="42" y="51"/>
                    <a:pt x="31" y="53"/>
                    <a:pt x="24" y="43"/>
                  </a:cubicBezTo>
                  <a:cubicBezTo>
                    <a:pt x="19" y="38"/>
                    <a:pt x="15" y="32"/>
                    <a:pt x="10" y="26"/>
                  </a:cubicBezTo>
                  <a:cubicBezTo>
                    <a:pt x="7" y="22"/>
                    <a:pt x="4" y="17"/>
                    <a:pt x="0" y="13"/>
                  </a:cubicBezTo>
                  <a:cubicBezTo>
                    <a:pt x="0" y="9"/>
                    <a:pt x="1" y="4"/>
                    <a:pt x="1" y="0"/>
                  </a:cubicBezTo>
                  <a:cubicBezTo>
                    <a:pt x="0" y="7"/>
                    <a:pt x="0" y="15"/>
                    <a:pt x="0" y="23"/>
                  </a:cubicBezTo>
                  <a:cubicBezTo>
                    <a:pt x="0" y="62"/>
                    <a:pt x="5" y="100"/>
                    <a:pt x="13" y="136"/>
                  </a:cubicBezTo>
                  <a:cubicBezTo>
                    <a:pt x="18" y="126"/>
                    <a:pt x="25" y="117"/>
                    <a:pt x="35" y="111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8" name="ïṡlíďe"/>
            <p:cNvSpPr/>
            <p:nvPr/>
          </p:nvSpPr>
          <p:spPr bwMode="auto">
            <a:xfrm>
              <a:off x="5959475" y="4015582"/>
              <a:ext cx="12700" cy="12700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0 h 4"/>
                <a:gd name="T4" fmla="*/ 0 w 4"/>
                <a:gd name="T5" fmla="*/ 2 h 4"/>
                <a:gd name="T6" fmla="*/ 2 w 4"/>
                <a:gd name="T7" fmla="*/ 4 h 4"/>
                <a:gd name="T8" fmla="*/ 4 w 4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1"/>
                    <a:pt x="4" y="0"/>
                    <a:pt x="2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3"/>
                    <a:pt x="1" y="3"/>
                    <a:pt x="2" y="4"/>
                  </a:cubicBezTo>
                  <a:cubicBezTo>
                    <a:pt x="3" y="4"/>
                    <a:pt x="4" y="3"/>
                    <a:pt x="4" y="2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9" name="iṣliḑè"/>
            <p:cNvSpPr/>
            <p:nvPr/>
          </p:nvSpPr>
          <p:spPr bwMode="auto">
            <a:xfrm>
              <a:off x="5576887" y="3721894"/>
              <a:ext cx="211138" cy="231775"/>
            </a:xfrm>
            <a:custGeom>
              <a:avLst/>
              <a:gdLst>
                <a:gd name="T0" fmla="*/ 61 w 64"/>
                <a:gd name="T1" fmla="*/ 49 h 70"/>
                <a:gd name="T2" fmla="*/ 59 w 64"/>
                <a:gd name="T3" fmla="*/ 49 h 70"/>
                <a:gd name="T4" fmla="*/ 44 w 64"/>
                <a:gd name="T5" fmla="*/ 38 h 70"/>
                <a:gd name="T6" fmla="*/ 34 w 64"/>
                <a:gd name="T7" fmla="*/ 24 h 70"/>
                <a:gd name="T8" fmla="*/ 17 w 64"/>
                <a:gd name="T9" fmla="*/ 7 h 70"/>
                <a:gd name="T10" fmla="*/ 0 w 64"/>
                <a:gd name="T11" fmla="*/ 0 h 70"/>
                <a:gd name="T12" fmla="*/ 30 w 64"/>
                <a:gd name="T13" fmla="*/ 40 h 70"/>
                <a:gd name="T14" fmla="*/ 33 w 64"/>
                <a:gd name="T15" fmla="*/ 44 h 70"/>
                <a:gd name="T16" fmla="*/ 52 w 64"/>
                <a:gd name="T17" fmla="*/ 67 h 70"/>
                <a:gd name="T18" fmla="*/ 56 w 64"/>
                <a:gd name="T19" fmla="*/ 69 h 70"/>
                <a:gd name="T20" fmla="*/ 63 w 64"/>
                <a:gd name="T21" fmla="*/ 53 h 70"/>
                <a:gd name="T22" fmla="*/ 61 w 64"/>
                <a:gd name="T23" fmla="*/ 4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70">
                  <a:moveTo>
                    <a:pt x="61" y="49"/>
                  </a:moveTo>
                  <a:cubicBezTo>
                    <a:pt x="60" y="49"/>
                    <a:pt x="60" y="49"/>
                    <a:pt x="59" y="49"/>
                  </a:cubicBezTo>
                  <a:cubicBezTo>
                    <a:pt x="52" y="48"/>
                    <a:pt x="47" y="43"/>
                    <a:pt x="44" y="38"/>
                  </a:cubicBezTo>
                  <a:cubicBezTo>
                    <a:pt x="42" y="32"/>
                    <a:pt x="38" y="28"/>
                    <a:pt x="34" y="24"/>
                  </a:cubicBezTo>
                  <a:cubicBezTo>
                    <a:pt x="28" y="18"/>
                    <a:pt x="22" y="13"/>
                    <a:pt x="17" y="7"/>
                  </a:cubicBezTo>
                  <a:cubicBezTo>
                    <a:pt x="13" y="2"/>
                    <a:pt x="8" y="1"/>
                    <a:pt x="0" y="0"/>
                  </a:cubicBezTo>
                  <a:cubicBezTo>
                    <a:pt x="15" y="12"/>
                    <a:pt x="19" y="28"/>
                    <a:pt x="30" y="40"/>
                  </a:cubicBezTo>
                  <a:cubicBezTo>
                    <a:pt x="31" y="41"/>
                    <a:pt x="32" y="42"/>
                    <a:pt x="33" y="44"/>
                  </a:cubicBezTo>
                  <a:cubicBezTo>
                    <a:pt x="36" y="53"/>
                    <a:pt x="44" y="60"/>
                    <a:pt x="52" y="67"/>
                  </a:cubicBezTo>
                  <a:cubicBezTo>
                    <a:pt x="53" y="68"/>
                    <a:pt x="55" y="70"/>
                    <a:pt x="56" y="69"/>
                  </a:cubicBezTo>
                  <a:cubicBezTo>
                    <a:pt x="60" y="64"/>
                    <a:pt x="61" y="58"/>
                    <a:pt x="63" y="53"/>
                  </a:cubicBezTo>
                  <a:cubicBezTo>
                    <a:pt x="64" y="51"/>
                    <a:pt x="63" y="50"/>
                    <a:pt x="61" y="49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0" name="íslîďé"/>
            <p:cNvSpPr/>
            <p:nvPr/>
          </p:nvSpPr>
          <p:spPr bwMode="auto">
            <a:xfrm>
              <a:off x="6407150" y="4707732"/>
              <a:ext cx="17463" cy="15875"/>
            </a:xfrm>
            <a:custGeom>
              <a:avLst/>
              <a:gdLst>
                <a:gd name="T0" fmla="*/ 1 w 5"/>
                <a:gd name="T1" fmla="*/ 3 h 5"/>
                <a:gd name="T2" fmla="*/ 2 w 5"/>
                <a:gd name="T3" fmla="*/ 5 h 5"/>
                <a:gd name="T4" fmla="*/ 5 w 5"/>
                <a:gd name="T5" fmla="*/ 2 h 5"/>
                <a:gd name="T6" fmla="*/ 3 w 5"/>
                <a:gd name="T7" fmla="*/ 0 h 5"/>
                <a:gd name="T8" fmla="*/ 1 w 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3"/>
                  </a:moveTo>
                  <a:cubicBezTo>
                    <a:pt x="0" y="4"/>
                    <a:pt x="1" y="5"/>
                    <a:pt x="2" y="5"/>
                  </a:cubicBezTo>
                  <a:cubicBezTo>
                    <a:pt x="3" y="4"/>
                    <a:pt x="4" y="4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1"/>
                    <a:pt x="1" y="2"/>
                    <a:pt x="1" y="3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1" name="iŝḻïḑé"/>
            <p:cNvSpPr/>
            <p:nvPr/>
          </p:nvSpPr>
          <p:spPr bwMode="auto">
            <a:xfrm>
              <a:off x="6424612" y="4733132"/>
              <a:ext cx="55563" cy="57150"/>
            </a:xfrm>
            <a:custGeom>
              <a:avLst/>
              <a:gdLst>
                <a:gd name="T0" fmla="*/ 13 w 17"/>
                <a:gd name="T1" fmla="*/ 1 h 17"/>
                <a:gd name="T2" fmla="*/ 5 w 17"/>
                <a:gd name="T3" fmla="*/ 0 h 17"/>
                <a:gd name="T4" fmla="*/ 0 w 17"/>
                <a:gd name="T5" fmla="*/ 4 h 17"/>
                <a:gd name="T6" fmla="*/ 1 w 17"/>
                <a:gd name="T7" fmla="*/ 14 h 17"/>
                <a:gd name="T8" fmla="*/ 7 w 17"/>
                <a:gd name="T9" fmla="*/ 17 h 17"/>
                <a:gd name="T10" fmla="*/ 13 w 17"/>
                <a:gd name="T11" fmla="*/ 11 h 17"/>
                <a:gd name="T12" fmla="*/ 15 w 17"/>
                <a:gd name="T13" fmla="*/ 2 h 17"/>
                <a:gd name="T14" fmla="*/ 13 w 17"/>
                <a:gd name="T15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7">
                  <a:moveTo>
                    <a:pt x="13" y="1"/>
                  </a:moveTo>
                  <a:cubicBezTo>
                    <a:pt x="10" y="1"/>
                    <a:pt x="8" y="0"/>
                    <a:pt x="5" y="0"/>
                  </a:cubicBezTo>
                  <a:cubicBezTo>
                    <a:pt x="3" y="1"/>
                    <a:pt x="0" y="0"/>
                    <a:pt x="0" y="4"/>
                  </a:cubicBezTo>
                  <a:cubicBezTo>
                    <a:pt x="1" y="7"/>
                    <a:pt x="1" y="11"/>
                    <a:pt x="1" y="14"/>
                  </a:cubicBezTo>
                  <a:cubicBezTo>
                    <a:pt x="2" y="17"/>
                    <a:pt x="4" y="17"/>
                    <a:pt x="7" y="17"/>
                  </a:cubicBezTo>
                  <a:cubicBezTo>
                    <a:pt x="10" y="16"/>
                    <a:pt x="11" y="14"/>
                    <a:pt x="13" y="11"/>
                  </a:cubicBezTo>
                  <a:cubicBezTo>
                    <a:pt x="14" y="8"/>
                    <a:pt x="17" y="5"/>
                    <a:pt x="15" y="2"/>
                  </a:cubicBezTo>
                  <a:cubicBezTo>
                    <a:pt x="15" y="1"/>
                    <a:pt x="14" y="1"/>
                    <a:pt x="13" y="1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2" name="îš1íďé"/>
            <p:cNvSpPr/>
            <p:nvPr/>
          </p:nvSpPr>
          <p:spPr bwMode="auto">
            <a:xfrm>
              <a:off x="5988050" y="4018757"/>
              <a:ext cx="33338" cy="19050"/>
            </a:xfrm>
            <a:custGeom>
              <a:avLst/>
              <a:gdLst>
                <a:gd name="T0" fmla="*/ 10 w 10"/>
                <a:gd name="T1" fmla="*/ 3 h 6"/>
                <a:gd name="T2" fmla="*/ 5 w 10"/>
                <a:gd name="T3" fmla="*/ 0 h 6"/>
                <a:gd name="T4" fmla="*/ 0 w 10"/>
                <a:gd name="T5" fmla="*/ 3 h 6"/>
                <a:gd name="T6" fmla="*/ 6 w 10"/>
                <a:gd name="T7" fmla="*/ 5 h 6"/>
                <a:gd name="T8" fmla="*/ 10 w 10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10" y="3"/>
                  </a:moveTo>
                  <a:cubicBezTo>
                    <a:pt x="10" y="1"/>
                    <a:pt x="7" y="1"/>
                    <a:pt x="5" y="0"/>
                  </a:cubicBezTo>
                  <a:cubicBezTo>
                    <a:pt x="3" y="0"/>
                    <a:pt x="0" y="1"/>
                    <a:pt x="0" y="3"/>
                  </a:cubicBezTo>
                  <a:cubicBezTo>
                    <a:pt x="0" y="6"/>
                    <a:pt x="3" y="5"/>
                    <a:pt x="6" y="5"/>
                  </a:cubicBezTo>
                  <a:cubicBezTo>
                    <a:pt x="7" y="5"/>
                    <a:pt x="10" y="6"/>
                    <a:pt x="10" y="3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3" name="îSḷïḑe"/>
            <p:cNvSpPr/>
            <p:nvPr/>
          </p:nvSpPr>
          <p:spPr bwMode="auto">
            <a:xfrm>
              <a:off x="5780087" y="3966369"/>
              <a:ext cx="158750" cy="61913"/>
            </a:xfrm>
            <a:custGeom>
              <a:avLst/>
              <a:gdLst>
                <a:gd name="T0" fmla="*/ 1 w 48"/>
                <a:gd name="T1" fmla="*/ 2 h 19"/>
                <a:gd name="T2" fmla="*/ 3 w 48"/>
                <a:gd name="T3" fmla="*/ 6 h 19"/>
                <a:gd name="T4" fmla="*/ 13 w 48"/>
                <a:gd name="T5" fmla="*/ 10 h 19"/>
                <a:gd name="T6" fmla="*/ 41 w 48"/>
                <a:gd name="T7" fmla="*/ 16 h 19"/>
                <a:gd name="T8" fmla="*/ 47 w 48"/>
                <a:gd name="T9" fmla="*/ 16 h 19"/>
                <a:gd name="T10" fmla="*/ 43 w 48"/>
                <a:gd name="T11" fmla="*/ 11 h 19"/>
                <a:gd name="T12" fmla="*/ 6 w 48"/>
                <a:gd name="T13" fmla="*/ 1 h 19"/>
                <a:gd name="T14" fmla="*/ 1 w 48"/>
                <a:gd name="T15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9">
                  <a:moveTo>
                    <a:pt x="1" y="2"/>
                  </a:moveTo>
                  <a:cubicBezTo>
                    <a:pt x="0" y="4"/>
                    <a:pt x="1" y="6"/>
                    <a:pt x="3" y="6"/>
                  </a:cubicBezTo>
                  <a:cubicBezTo>
                    <a:pt x="6" y="8"/>
                    <a:pt x="10" y="9"/>
                    <a:pt x="13" y="10"/>
                  </a:cubicBezTo>
                  <a:cubicBezTo>
                    <a:pt x="23" y="12"/>
                    <a:pt x="32" y="14"/>
                    <a:pt x="41" y="16"/>
                  </a:cubicBezTo>
                  <a:cubicBezTo>
                    <a:pt x="43" y="16"/>
                    <a:pt x="45" y="19"/>
                    <a:pt x="47" y="16"/>
                  </a:cubicBezTo>
                  <a:cubicBezTo>
                    <a:pt x="48" y="14"/>
                    <a:pt x="45" y="13"/>
                    <a:pt x="43" y="11"/>
                  </a:cubicBezTo>
                  <a:cubicBezTo>
                    <a:pt x="32" y="2"/>
                    <a:pt x="17" y="7"/>
                    <a:pt x="6" y="1"/>
                  </a:cubicBezTo>
                  <a:cubicBezTo>
                    <a:pt x="3" y="1"/>
                    <a:pt x="1" y="0"/>
                    <a:pt x="1" y="2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4" name="ïşlîdè"/>
            <p:cNvSpPr/>
            <p:nvPr/>
          </p:nvSpPr>
          <p:spPr bwMode="auto">
            <a:xfrm>
              <a:off x="6015037" y="3613944"/>
              <a:ext cx="23813" cy="39688"/>
            </a:xfrm>
            <a:custGeom>
              <a:avLst/>
              <a:gdLst>
                <a:gd name="T0" fmla="*/ 7 w 7"/>
                <a:gd name="T1" fmla="*/ 0 h 12"/>
                <a:gd name="T2" fmla="*/ 0 w 7"/>
                <a:gd name="T3" fmla="*/ 12 h 12"/>
                <a:gd name="T4" fmla="*/ 7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0"/>
                  </a:moveTo>
                  <a:cubicBezTo>
                    <a:pt x="4" y="3"/>
                    <a:pt x="0" y="6"/>
                    <a:pt x="0" y="12"/>
                  </a:cubicBezTo>
                  <a:cubicBezTo>
                    <a:pt x="4" y="8"/>
                    <a:pt x="7" y="5"/>
                    <a:pt x="7" y="0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5" name="íṩļîḋè"/>
            <p:cNvSpPr/>
            <p:nvPr/>
          </p:nvSpPr>
          <p:spPr bwMode="auto">
            <a:xfrm>
              <a:off x="5840412" y="3693319"/>
              <a:ext cx="198438" cy="230188"/>
            </a:xfrm>
            <a:custGeom>
              <a:avLst/>
              <a:gdLst>
                <a:gd name="T0" fmla="*/ 39 w 60"/>
                <a:gd name="T1" fmla="*/ 10 h 70"/>
                <a:gd name="T2" fmla="*/ 36 w 60"/>
                <a:gd name="T3" fmla="*/ 12 h 70"/>
                <a:gd name="T4" fmla="*/ 3 w 60"/>
                <a:gd name="T5" fmla="*/ 36 h 70"/>
                <a:gd name="T6" fmla="*/ 1 w 60"/>
                <a:gd name="T7" fmla="*/ 43 h 70"/>
                <a:gd name="T8" fmla="*/ 35 w 60"/>
                <a:gd name="T9" fmla="*/ 70 h 70"/>
                <a:gd name="T10" fmla="*/ 43 w 60"/>
                <a:gd name="T11" fmla="*/ 62 h 70"/>
                <a:gd name="T12" fmla="*/ 43 w 60"/>
                <a:gd name="T13" fmla="*/ 57 h 70"/>
                <a:gd name="T14" fmla="*/ 55 w 60"/>
                <a:gd name="T15" fmla="*/ 39 h 70"/>
                <a:gd name="T16" fmla="*/ 53 w 60"/>
                <a:gd name="T17" fmla="*/ 26 h 70"/>
                <a:gd name="T18" fmla="*/ 53 w 60"/>
                <a:gd name="T19" fmla="*/ 19 h 70"/>
                <a:gd name="T20" fmla="*/ 57 w 60"/>
                <a:gd name="T21" fmla="*/ 15 h 70"/>
                <a:gd name="T22" fmla="*/ 57 w 60"/>
                <a:gd name="T23" fmla="*/ 10 h 70"/>
                <a:gd name="T24" fmla="*/ 39 w 60"/>
                <a:gd name="T25" fmla="*/ 1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0">
                  <a:moveTo>
                    <a:pt x="39" y="10"/>
                  </a:moveTo>
                  <a:cubicBezTo>
                    <a:pt x="38" y="11"/>
                    <a:pt x="37" y="11"/>
                    <a:pt x="36" y="12"/>
                  </a:cubicBezTo>
                  <a:cubicBezTo>
                    <a:pt x="26" y="21"/>
                    <a:pt x="15" y="29"/>
                    <a:pt x="3" y="36"/>
                  </a:cubicBezTo>
                  <a:cubicBezTo>
                    <a:pt x="1" y="38"/>
                    <a:pt x="0" y="40"/>
                    <a:pt x="1" y="43"/>
                  </a:cubicBezTo>
                  <a:cubicBezTo>
                    <a:pt x="4" y="60"/>
                    <a:pt x="16" y="70"/>
                    <a:pt x="35" y="70"/>
                  </a:cubicBezTo>
                  <a:cubicBezTo>
                    <a:pt x="42" y="70"/>
                    <a:pt x="44" y="68"/>
                    <a:pt x="43" y="62"/>
                  </a:cubicBezTo>
                  <a:cubicBezTo>
                    <a:pt x="42" y="60"/>
                    <a:pt x="42" y="58"/>
                    <a:pt x="43" y="57"/>
                  </a:cubicBezTo>
                  <a:cubicBezTo>
                    <a:pt x="47" y="51"/>
                    <a:pt x="51" y="45"/>
                    <a:pt x="55" y="39"/>
                  </a:cubicBezTo>
                  <a:cubicBezTo>
                    <a:pt x="57" y="36"/>
                    <a:pt x="57" y="28"/>
                    <a:pt x="53" y="26"/>
                  </a:cubicBezTo>
                  <a:cubicBezTo>
                    <a:pt x="46" y="24"/>
                    <a:pt x="50" y="22"/>
                    <a:pt x="53" y="19"/>
                  </a:cubicBezTo>
                  <a:cubicBezTo>
                    <a:pt x="54" y="17"/>
                    <a:pt x="56" y="16"/>
                    <a:pt x="57" y="15"/>
                  </a:cubicBezTo>
                  <a:cubicBezTo>
                    <a:pt x="60" y="13"/>
                    <a:pt x="60" y="12"/>
                    <a:pt x="57" y="10"/>
                  </a:cubicBezTo>
                  <a:cubicBezTo>
                    <a:pt x="46" y="0"/>
                    <a:pt x="50" y="0"/>
                    <a:pt x="39" y="10"/>
                  </a:cubicBezTo>
                  <a:close/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6" name="íSḻiḓé"/>
            <p:cNvSpPr/>
            <p:nvPr/>
          </p:nvSpPr>
          <p:spPr bwMode="auto">
            <a:xfrm>
              <a:off x="6853237" y="4233069"/>
              <a:ext cx="39688" cy="33338"/>
            </a:xfrm>
            <a:custGeom>
              <a:avLst/>
              <a:gdLst>
                <a:gd name="T0" fmla="*/ 12 w 12"/>
                <a:gd name="T1" fmla="*/ 5 h 10"/>
                <a:gd name="T2" fmla="*/ 4 w 12"/>
                <a:gd name="T3" fmla="*/ 0 h 10"/>
                <a:gd name="T4" fmla="*/ 0 w 12"/>
                <a:gd name="T5" fmla="*/ 3 h 10"/>
                <a:gd name="T6" fmla="*/ 8 w 12"/>
                <a:gd name="T7" fmla="*/ 9 h 10"/>
                <a:gd name="T8" fmla="*/ 12 w 12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12" y="5"/>
                  </a:moveTo>
                  <a:cubicBezTo>
                    <a:pt x="11" y="2"/>
                    <a:pt x="8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7"/>
                    <a:pt x="4" y="8"/>
                    <a:pt x="8" y="9"/>
                  </a:cubicBezTo>
                  <a:cubicBezTo>
                    <a:pt x="9" y="10"/>
                    <a:pt x="11" y="8"/>
                    <a:pt x="12" y="5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7" name="ïSḷîḑe"/>
            <p:cNvSpPr/>
            <p:nvPr/>
          </p:nvSpPr>
          <p:spPr bwMode="auto">
            <a:xfrm>
              <a:off x="6853237" y="4591844"/>
              <a:ext cx="150813" cy="161925"/>
            </a:xfrm>
            <a:custGeom>
              <a:avLst/>
              <a:gdLst>
                <a:gd name="T0" fmla="*/ 7 w 46"/>
                <a:gd name="T1" fmla="*/ 47 h 49"/>
                <a:gd name="T2" fmla="*/ 21 w 46"/>
                <a:gd name="T3" fmla="*/ 38 h 49"/>
                <a:gd name="T4" fmla="*/ 41 w 46"/>
                <a:gd name="T5" fmla="*/ 13 h 49"/>
                <a:gd name="T6" fmla="*/ 45 w 46"/>
                <a:gd name="T7" fmla="*/ 4 h 49"/>
                <a:gd name="T8" fmla="*/ 36 w 46"/>
                <a:gd name="T9" fmla="*/ 7 h 49"/>
                <a:gd name="T10" fmla="*/ 34 w 46"/>
                <a:gd name="T11" fmla="*/ 10 h 49"/>
                <a:gd name="T12" fmla="*/ 22 w 46"/>
                <a:gd name="T13" fmla="*/ 23 h 49"/>
                <a:gd name="T14" fmla="*/ 0 w 46"/>
                <a:gd name="T15" fmla="*/ 46 h 49"/>
                <a:gd name="T16" fmla="*/ 7 w 46"/>
                <a:gd name="T17" fmla="*/ 4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9">
                  <a:moveTo>
                    <a:pt x="7" y="47"/>
                  </a:moveTo>
                  <a:cubicBezTo>
                    <a:pt x="12" y="49"/>
                    <a:pt x="17" y="46"/>
                    <a:pt x="21" y="38"/>
                  </a:cubicBezTo>
                  <a:cubicBezTo>
                    <a:pt x="25" y="28"/>
                    <a:pt x="34" y="21"/>
                    <a:pt x="41" y="13"/>
                  </a:cubicBezTo>
                  <a:cubicBezTo>
                    <a:pt x="43" y="9"/>
                    <a:pt x="46" y="6"/>
                    <a:pt x="45" y="4"/>
                  </a:cubicBezTo>
                  <a:cubicBezTo>
                    <a:pt x="43" y="0"/>
                    <a:pt x="39" y="5"/>
                    <a:pt x="36" y="7"/>
                  </a:cubicBezTo>
                  <a:cubicBezTo>
                    <a:pt x="35" y="8"/>
                    <a:pt x="34" y="9"/>
                    <a:pt x="34" y="10"/>
                  </a:cubicBezTo>
                  <a:cubicBezTo>
                    <a:pt x="31" y="15"/>
                    <a:pt x="26" y="19"/>
                    <a:pt x="22" y="23"/>
                  </a:cubicBezTo>
                  <a:cubicBezTo>
                    <a:pt x="14" y="30"/>
                    <a:pt x="7" y="37"/>
                    <a:pt x="0" y="46"/>
                  </a:cubicBezTo>
                  <a:cubicBezTo>
                    <a:pt x="3" y="45"/>
                    <a:pt x="5" y="46"/>
                    <a:pt x="7" y="47"/>
                  </a:cubicBezTo>
                </a:path>
              </a:pathLst>
            </a:custGeom>
            <a:solidFill>
              <a:srgbClr val="AFE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8" name="iṣḷîḍé"/>
            <p:cNvSpPr/>
            <p:nvPr/>
          </p:nvSpPr>
          <p:spPr bwMode="auto">
            <a:xfrm>
              <a:off x="6388100" y="4968082"/>
              <a:ext cx="319088" cy="88900"/>
            </a:xfrm>
            <a:custGeom>
              <a:avLst/>
              <a:gdLst>
                <a:gd name="T0" fmla="*/ 97 w 97"/>
                <a:gd name="T1" fmla="*/ 0 h 27"/>
                <a:gd name="T2" fmla="*/ 1 w 97"/>
                <a:gd name="T3" fmla="*/ 15 h 27"/>
                <a:gd name="T4" fmla="*/ 0 w 97"/>
                <a:gd name="T5" fmla="*/ 27 h 27"/>
                <a:gd name="T6" fmla="*/ 97 w 97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27">
                  <a:moveTo>
                    <a:pt x="97" y="0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34" y="21"/>
                    <a:pt x="66" y="12"/>
                    <a:pt x="97" y="0"/>
                  </a:cubicBezTo>
                </a:path>
              </a:pathLst>
            </a:custGeom>
            <a:solidFill>
              <a:srgbClr val="1EB2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9" name="íṥļiḑê"/>
            <p:cNvSpPr/>
            <p:nvPr/>
          </p:nvSpPr>
          <p:spPr bwMode="auto">
            <a:xfrm>
              <a:off x="6097587" y="1778794"/>
              <a:ext cx="42863" cy="0"/>
            </a:xfrm>
            <a:custGeom>
              <a:avLst/>
              <a:gdLst>
                <a:gd name="T0" fmla="*/ 13 w 13"/>
                <a:gd name="T1" fmla="*/ 13 w 13"/>
                <a:gd name="T2" fmla="*/ 13 w 13"/>
                <a:gd name="T3" fmla="*/ 12 w 13"/>
                <a:gd name="T4" fmla="*/ 12 w 13"/>
                <a:gd name="T5" fmla="*/ 12 w 13"/>
                <a:gd name="T6" fmla="*/ 11 w 13"/>
                <a:gd name="T7" fmla="*/ 11 w 13"/>
                <a:gd name="T8" fmla="*/ 11 w 13"/>
                <a:gd name="T9" fmla="*/ 10 w 13"/>
                <a:gd name="T10" fmla="*/ 10 w 13"/>
                <a:gd name="T11" fmla="*/ 10 w 13"/>
                <a:gd name="T12" fmla="*/ 9 w 13"/>
                <a:gd name="T13" fmla="*/ 9 w 13"/>
                <a:gd name="T14" fmla="*/ 9 w 13"/>
                <a:gd name="T15" fmla="*/ 8 w 13"/>
                <a:gd name="T16" fmla="*/ 8 w 13"/>
                <a:gd name="T17" fmla="*/ 8 w 13"/>
                <a:gd name="T18" fmla="*/ 8 w 13"/>
                <a:gd name="T19" fmla="*/ 8 w 13"/>
                <a:gd name="T20" fmla="*/ 8 w 13"/>
                <a:gd name="T21" fmla="*/ 7 w 13"/>
                <a:gd name="T22" fmla="*/ 7 w 13"/>
                <a:gd name="T23" fmla="*/ 7 w 13"/>
                <a:gd name="T24" fmla="*/ 6 w 13"/>
                <a:gd name="T25" fmla="*/ 6 w 13"/>
                <a:gd name="T26" fmla="*/ 6 w 13"/>
                <a:gd name="T27" fmla="*/ 6 w 13"/>
                <a:gd name="T28" fmla="*/ 6 w 13"/>
                <a:gd name="T29" fmla="*/ 6 w 13"/>
                <a:gd name="T30" fmla="*/ 4 w 13"/>
                <a:gd name="T31" fmla="*/ 5 w 13"/>
                <a:gd name="T32" fmla="*/ 4 w 13"/>
                <a:gd name="T33" fmla="*/ 4 w 13"/>
                <a:gd name="T34" fmla="*/ 4 w 13"/>
                <a:gd name="T35" fmla="*/ 4 w 13"/>
                <a:gd name="T36" fmla="*/ 3 w 13"/>
                <a:gd name="T37" fmla="*/ 3 w 13"/>
                <a:gd name="T38" fmla="*/ 3 w 13"/>
                <a:gd name="T39" fmla="*/ 2 w 13"/>
                <a:gd name="T40" fmla="*/ 3 w 13"/>
                <a:gd name="T41" fmla="*/ 2 w 13"/>
                <a:gd name="T42" fmla="*/ 2 w 13"/>
                <a:gd name="T43" fmla="*/ 2 w 13"/>
                <a:gd name="T44" fmla="*/ 2 w 13"/>
                <a:gd name="T45" fmla="*/ 1 w 13"/>
                <a:gd name="T46" fmla="*/ 1 w 13"/>
                <a:gd name="T47" fmla="*/ 1 w 13"/>
                <a:gd name="T48" fmla="*/ 0 w 13"/>
                <a:gd name="T49" fmla="*/ 1 w 13"/>
                <a:gd name="T50" fmla="*/ 0 w 1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</a:cxnLst>
              <a:rect l="0" t="0" r="r" b="b"/>
              <a:pathLst>
                <a:path w="13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D3F2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0" name="íṣḷîḑe"/>
            <p:cNvSpPr/>
            <p:nvPr/>
          </p:nvSpPr>
          <p:spPr bwMode="auto">
            <a:xfrm>
              <a:off x="5770562" y="1778794"/>
              <a:ext cx="1541463" cy="1096963"/>
            </a:xfrm>
            <a:custGeom>
              <a:avLst/>
              <a:gdLst>
                <a:gd name="T0" fmla="*/ 426 w 467"/>
                <a:gd name="T1" fmla="*/ 143 h 333"/>
                <a:gd name="T2" fmla="*/ 417 w 467"/>
                <a:gd name="T3" fmla="*/ 148 h 333"/>
                <a:gd name="T4" fmla="*/ 424 w 467"/>
                <a:gd name="T5" fmla="*/ 165 h 333"/>
                <a:gd name="T6" fmla="*/ 388 w 467"/>
                <a:gd name="T7" fmla="*/ 181 h 333"/>
                <a:gd name="T8" fmla="*/ 353 w 467"/>
                <a:gd name="T9" fmla="*/ 186 h 333"/>
                <a:gd name="T10" fmla="*/ 342 w 467"/>
                <a:gd name="T11" fmla="*/ 219 h 333"/>
                <a:gd name="T12" fmla="*/ 312 w 467"/>
                <a:gd name="T13" fmla="*/ 260 h 333"/>
                <a:gd name="T14" fmla="*/ 312 w 467"/>
                <a:gd name="T15" fmla="*/ 209 h 333"/>
                <a:gd name="T16" fmla="*/ 346 w 467"/>
                <a:gd name="T17" fmla="*/ 167 h 333"/>
                <a:gd name="T18" fmla="*/ 325 w 467"/>
                <a:gd name="T19" fmla="*/ 185 h 333"/>
                <a:gd name="T20" fmla="*/ 320 w 467"/>
                <a:gd name="T21" fmla="*/ 174 h 333"/>
                <a:gd name="T22" fmla="*/ 269 w 467"/>
                <a:gd name="T23" fmla="*/ 196 h 333"/>
                <a:gd name="T24" fmla="*/ 237 w 467"/>
                <a:gd name="T25" fmla="*/ 197 h 333"/>
                <a:gd name="T26" fmla="*/ 186 w 467"/>
                <a:gd name="T27" fmla="*/ 241 h 333"/>
                <a:gd name="T28" fmla="*/ 207 w 467"/>
                <a:gd name="T29" fmla="*/ 244 h 333"/>
                <a:gd name="T30" fmla="*/ 226 w 467"/>
                <a:gd name="T31" fmla="*/ 278 h 333"/>
                <a:gd name="T32" fmla="*/ 238 w 467"/>
                <a:gd name="T33" fmla="*/ 283 h 333"/>
                <a:gd name="T34" fmla="*/ 229 w 467"/>
                <a:gd name="T35" fmla="*/ 283 h 333"/>
                <a:gd name="T36" fmla="*/ 467 w 467"/>
                <a:gd name="T37" fmla="*/ 161 h 333"/>
                <a:gd name="T38" fmla="*/ 434 w 467"/>
                <a:gd name="T39" fmla="*/ 129 h 333"/>
                <a:gd name="T40" fmla="*/ 205 w 467"/>
                <a:gd name="T41" fmla="*/ 61 h 333"/>
                <a:gd name="T42" fmla="*/ 214 w 467"/>
                <a:gd name="T43" fmla="*/ 71 h 333"/>
                <a:gd name="T44" fmla="*/ 209 w 467"/>
                <a:gd name="T45" fmla="*/ 71 h 333"/>
                <a:gd name="T46" fmla="*/ 212 w 467"/>
                <a:gd name="T47" fmla="*/ 44 h 333"/>
                <a:gd name="T48" fmla="*/ 223 w 467"/>
                <a:gd name="T49" fmla="*/ 47 h 333"/>
                <a:gd name="T50" fmla="*/ 186 w 467"/>
                <a:gd name="T51" fmla="*/ 53 h 333"/>
                <a:gd name="T52" fmla="*/ 201 w 467"/>
                <a:gd name="T53" fmla="*/ 47 h 333"/>
                <a:gd name="T54" fmla="*/ 211 w 467"/>
                <a:gd name="T55" fmla="*/ 56 h 333"/>
                <a:gd name="T56" fmla="*/ 99 w 467"/>
                <a:gd name="T57" fmla="*/ 0 h 333"/>
                <a:gd name="T58" fmla="*/ 29 w 467"/>
                <a:gd name="T59" fmla="*/ 39 h 333"/>
                <a:gd name="T60" fmla="*/ 51 w 467"/>
                <a:gd name="T61" fmla="*/ 41 h 333"/>
                <a:gd name="T62" fmla="*/ 40 w 467"/>
                <a:gd name="T63" fmla="*/ 57 h 333"/>
                <a:gd name="T64" fmla="*/ 57 w 467"/>
                <a:gd name="T65" fmla="*/ 70 h 333"/>
                <a:gd name="T66" fmla="*/ 94 w 467"/>
                <a:gd name="T67" fmla="*/ 75 h 333"/>
                <a:gd name="T68" fmla="*/ 136 w 467"/>
                <a:gd name="T69" fmla="*/ 74 h 333"/>
                <a:gd name="T70" fmla="*/ 153 w 467"/>
                <a:gd name="T71" fmla="*/ 98 h 333"/>
                <a:gd name="T72" fmla="*/ 164 w 467"/>
                <a:gd name="T73" fmla="*/ 90 h 333"/>
                <a:gd name="T74" fmla="*/ 192 w 467"/>
                <a:gd name="T75" fmla="*/ 92 h 333"/>
                <a:gd name="T76" fmla="*/ 217 w 467"/>
                <a:gd name="T77" fmla="*/ 79 h 333"/>
                <a:gd name="T78" fmla="*/ 228 w 467"/>
                <a:gd name="T79" fmla="*/ 87 h 333"/>
                <a:gd name="T80" fmla="*/ 246 w 467"/>
                <a:gd name="T81" fmla="*/ 80 h 333"/>
                <a:gd name="T82" fmla="*/ 281 w 467"/>
                <a:gd name="T83" fmla="*/ 94 h 333"/>
                <a:gd name="T84" fmla="*/ 322 w 467"/>
                <a:gd name="T85" fmla="*/ 105 h 333"/>
                <a:gd name="T86" fmla="*/ 349 w 467"/>
                <a:gd name="T87" fmla="*/ 105 h 333"/>
                <a:gd name="T88" fmla="*/ 370 w 467"/>
                <a:gd name="T89" fmla="*/ 100 h 333"/>
                <a:gd name="T90" fmla="*/ 112 w 467"/>
                <a:gd name="T91" fmla="*/ 0 h 333"/>
                <a:gd name="T92" fmla="*/ 110 w 467"/>
                <a:gd name="T93" fmla="*/ 0 h 333"/>
                <a:gd name="T94" fmla="*/ 108 w 467"/>
                <a:gd name="T95" fmla="*/ 0 h 333"/>
                <a:gd name="T96" fmla="*/ 107 w 467"/>
                <a:gd name="T97" fmla="*/ 0 h 333"/>
                <a:gd name="T98" fmla="*/ 105 w 467"/>
                <a:gd name="T99" fmla="*/ 0 h 333"/>
                <a:gd name="T100" fmla="*/ 103 w 467"/>
                <a:gd name="T101" fmla="*/ 0 h 333"/>
                <a:gd name="T102" fmla="*/ 102 w 467"/>
                <a:gd name="T103" fmla="*/ 0 h 333"/>
                <a:gd name="T104" fmla="*/ 101 w 467"/>
                <a:gd name="T105" fmla="*/ 0 h 333"/>
                <a:gd name="T106" fmla="*/ 99 w 467"/>
                <a:gd name="T107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7" h="333">
                  <a:moveTo>
                    <a:pt x="434" y="129"/>
                  </a:moveTo>
                  <a:cubicBezTo>
                    <a:pt x="434" y="129"/>
                    <a:pt x="433" y="129"/>
                    <a:pt x="433" y="129"/>
                  </a:cubicBezTo>
                  <a:cubicBezTo>
                    <a:pt x="431" y="130"/>
                    <a:pt x="431" y="132"/>
                    <a:pt x="431" y="133"/>
                  </a:cubicBezTo>
                  <a:cubicBezTo>
                    <a:pt x="431" y="140"/>
                    <a:pt x="430" y="143"/>
                    <a:pt x="426" y="143"/>
                  </a:cubicBezTo>
                  <a:cubicBezTo>
                    <a:pt x="424" y="143"/>
                    <a:pt x="422" y="142"/>
                    <a:pt x="418" y="142"/>
                  </a:cubicBezTo>
                  <a:cubicBezTo>
                    <a:pt x="417" y="141"/>
                    <a:pt x="415" y="141"/>
                    <a:pt x="414" y="141"/>
                  </a:cubicBezTo>
                  <a:cubicBezTo>
                    <a:pt x="413" y="141"/>
                    <a:pt x="412" y="141"/>
                    <a:pt x="411" y="143"/>
                  </a:cubicBezTo>
                  <a:cubicBezTo>
                    <a:pt x="411" y="146"/>
                    <a:pt x="414" y="148"/>
                    <a:pt x="417" y="148"/>
                  </a:cubicBezTo>
                  <a:cubicBezTo>
                    <a:pt x="422" y="149"/>
                    <a:pt x="424" y="152"/>
                    <a:pt x="427" y="155"/>
                  </a:cubicBezTo>
                  <a:cubicBezTo>
                    <a:pt x="428" y="158"/>
                    <a:pt x="431" y="161"/>
                    <a:pt x="430" y="164"/>
                  </a:cubicBezTo>
                  <a:cubicBezTo>
                    <a:pt x="429" y="165"/>
                    <a:pt x="428" y="165"/>
                    <a:pt x="427" y="165"/>
                  </a:cubicBezTo>
                  <a:cubicBezTo>
                    <a:pt x="426" y="165"/>
                    <a:pt x="425" y="165"/>
                    <a:pt x="424" y="165"/>
                  </a:cubicBezTo>
                  <a:cubicBezTo>
                    <a:pt x="424" y="164"/>
                    <a:pt x="423" y="164"/>
                    <a:pt x="422" y="164"/>
                  </a:cubicBezTo>
                  <a:cubicBezTo>
                    <a:pt x="422" y="164"/>
                    <a:pt x="422" y="164"/>
                    <a:pt x="422" y="164"/>
                  </a:cubicBezTo>
                  <a:cubicBezTo>
                    <a:pt x="412" y="165"/>
                    <a:pt x="405" y="170"/>
                    <a:pt x="397" y="174"/>
                  </a:cubicBezTo>
                  <a:cubicBezTo>
                    <a:pt x="394" y="176"/>
                    <a:pt x="391" y="178"/>
                    <a:pt x="388" y="181"/>
                  </a:cubicBezTo>
                  <a:cubicBezTo>
                    <a:pt x="386" y="183"/>
                    <a:pt x="384" y="184"/>
                    <a:pt x="381" y="184"/>
                  </a:cubicBezTo>
                  <a:cubicBezTo>
                    <a:pt x="379" y="184"/>
                    <a:pt x="378" y="183"/>
                    <a:pt x="375" y="182"/>
                  </a:cubicBezTo>
                  <a:cubicBezTo>
                    <a:pt x="373" y="181"/>
                    <a:pt x="371" y="181"/>
                    <a:pt x="369" y="181"/>
                  </a:cubicBezTo>
                  <a:cubicBezTo>
                    <a:pt x="363" y="181"/>
                    <a:pt x="358" y="183"/>
                    <a:pt x="353" y="186"/>
                  </a:cubicBezTo>
                  <a:cubicBezTo>
                    <a:pt x="351" y="187"/>
                    <a:pt x="350" y="189"/>
                    <a:pt x="348" y="189"/>
                  </a:cubicBezTo>
                  <a:cubicBezTo>
                    <a:pt x="339" y="191"/>
                    <a:pt x="335" y="198"/>
                    <a:pt x="338" y="206"/>
                  </a:cubicBezTo>
                  <a:cubicBezTo>
                    <a:pt x="340" y="209"/>
                    <a:pt x="339" y="214"/>
                    <a:pt x="343" y="216"/>
                  </a:cubicBezTo>
                  <a:cubicBezTo>
                    <a:pt x="343" y="217"/>
                    <a:pt x="343" y="218"/>
                    <a:pt x="342" y="219"/>
                  </a:cubicBezTo>
                  <a:cubicBezTo>
                    <a:pt x="336" y="220"/>
                    <a:pt x="335" y="225"/>
                    <a:pt x="336" y="229"/>
                  </a:cubicBezTo>
                  <a:cubicBezTo>
                    <a:pt x="337" y="232"/>
                    <a:pt x="336" y="232"/>
                    <a:pt x="334" y="233"/>
                  </a:cubicBezTo>
                  <a:cubicBezTo>
                    <a:pt x="329" y="233"/>
                    <a:pt x="326" y="237"/>
                    <a:pt x="326" y="241"/>
                  </a:cubicBezTo>
                  <a:cubicBezTo>
                    <a:pt x="325" y="250"/>
                    <a:pt x="315" y="253"/>
                    <a:pt x="312" y="260"/>
                  </a:cubicBezTo>
                  <a:cubicBezTo>
                    <a:pt x="311" y="261"/>
                    <a:pt x="311" y="261"/>
                    <a:pt x="310" y="261"/>
                  </a:cubicBezTo>
                  <a:cubicBezTo>
                    <a:pt x="310" y="261"/>
                    <a:pt x="309" y="260"/>
                    <a:pt x="308" y="259"/>
                  </a:cubicBezTo>
                  <a:cubicBezTo>
                    <a:pt x="303" y="248"/>
                    <a:pt x="301" y="237"/>
                    <a:pt x="302" y="225"/>
                  </a:cubicBezTo>
                  <a:cubicBezTo>
                    <a:pt x="302" y="218"/>
                    <a:pt x="305" y="213"/>
                    <a:pt x="312" y="209"/>
                  </a:cubicBezTo>
                  <a:cubicBezTo>
                    <a:pt x="316" y="207"/>
                    <a:pt x="318" y="204"/>
                    <a:pt x="321" y="201"/>
                  </a:cubicBezTo>
                  <a:cubicBezTo>
                    <a:pt x="327" y="194"/>
                    <a:pt x="333" y="187"/>
                    <a:pt x="341" y="182"/>
                  </a:cubicBezTo>
                  <a:cubicBezTo>
                    <a:pt x="345" y="180"/>
                    <a:pt x="346" y="176"/>
                    <a:pt x="347" y="173"/>
                  </a:cubicBezTo>
                  <a:cubicBezTo>
                    <a:pt x="348" y="171"/>
                    <a:pt x="348" y="169"/>
                    <a:pt x="346" y="167"/>
                  </a:cubicBezTo>
                  <a:cubicBezTo>
                    <a:pt x="346" y="167"/>
                    <a:pt x="345" y="167"/>
                    <a:pt x="344" y="167"/>
                  </a:cubicBezTo>
                  <a:cubicBezTo>
                    <a:pt x="343" y="167"/>
                    <a:pt x="341" y="168"/>
                    <a:pt x="341" y="170"/>
                  </a:cubicBezTo>
                  <a:cubicBezTo>
                    <a:pt x="339" y="177"/>
                    <a:pt x="332" y="179"/>
                    <a:pt x="327" y="184"/>
                  </a:cubicBezTo>
                  <a:cubicBezTo>
                    <a:pt x="326" y="185"/>
                    <a:pt x="326" y="185"/>
                    <a:pt x="325" y="185"/>
                  </a:cubicBezTo>
                  <a:cubicBezTo>
                    <a:pt x="324" y="185"/>
                    <a:pt x="324" y="185"/>
                    <a:pt x="324" y="185"/>
                  </a:cubicBezTo>
                  <a:cubicBezTo>
                    <a:pt x="322" y="184"/>
                    <a:pt x="323" y="182"/>
                    <a:pt x="324" y="180"/>
                  </a:cubicBezTo>
                  <a:cubicBezTo>
                    <a:pt x="328" y="175"/>
                    <a:pt x="324" y="174"/>
                    <a:pt x="320" y="174"/>
                  </a:cubicBezTo>
                  <a:cubicBezTo>
                    <a:pt x="320" y="174"/>
                    <a:pt x="320" y="174"/>
                    <a:pt x="320" y="174"/>
                  </a:cubicBezTo>
                  <a:cubicBezTo>
                    <a:pt x="310" y="174"/>
                    <a:pt x="294" y="185"/>
                    <a:pt x="291" y="195"/>
                  </a:cubicBezTo>
                  <a:cubicBezTo>
                    <a:pt x="290" y="198"/>
                    <a:pt x="288" y="199"/>
                    <a:pt x="286" y="199"/>
                  </a:cubicBezTo>
                  <a:cubicBezTo>
                    <a:pt x="285" y="199"/>
                    <a:pt x="285" y="199"/>
                    <a:pt x="284" y="199"/>
                  </a:cubicBezTo>
                  <a:cubicBezTo>
                    <a:pt x="279" y="198"/>
                    <a:pt x="274" y="198"/>
                    <a:pt x="269" y="196"/>
                  </a:cubicBezTo>
                  <a:cubicBezTo>
                    <a:pt x="268" y="195"/>
                    <a:pt x="267" y="195"/>
                    <a:pt x="265" y="195"/>
                  </a:cubicBezTo>
                  <a:cubicBezTo>
                    <a:pt x="264" y="195"/>
                    <a:pt x="263" y="195"/>
                    <a:pt x="261" y="196"/>
                  </a:cubicBezTo>
                  <a:cubicBezTo>
                    <a:pt x="256" y="198"/>
                    <a:pt x="251" y="199"/>
                    <a:pt x="246" y="199"/>
                  </a:cubicBezTo>
                  <a:cubicBezTo>
                    <a:pt x="243" y="199"/>
                    <a:pt x="240" y="199"/>
                    <a:pt x="237" y="197"/>
                  </a:cubicBezTo>
                  <a:cubicBezTo>
                    <a:pt x="236" y="197"/>
                    <a:pt x="234" y="197"/>
                    <a:pt x="233" y="197"/>
                  </a:cubicBezTo>
                  <a:cubicBezTo>
                    <a:pt x="229" y="197"/>
                    <a:pt x="226" y="198"/>
                    <a:pt x="223" y="201"/>
                  </a:cubicBezTo>
                  <a:cubicBezTo>
                    <a:pt x="209" y="210"/>
                    <a:pt x="196" y="221"/>
                    <a:pt x="184" y="233"/>
                  </a:cubicBezTo>
                  <a:cubicBezTo>
                    <a:pt x="182" y="236"/>
                    <a:pt x="179" y="239"/>
                    <a:pt x="186" y="241"/>
                  </a:cubicBezTo>
                  <a:cubicBezTo>
                    <a:pt x="188" y="241"/>
                    <a:pt x="190" y="243"/>
                    <a:pt x="191" y="244"/>
                  </a:cubicBezTo>
                  <a:cubicBezTo>
                    <a:pt x="193" y="246"/>
                    <a:pt x="194" y="247"/>
                    <a:pt x="196" y="247"/>
                  </a:cubicBezTo>
                  <a:cubicBezTo>
                    <a:pt x="198" y="247"/>
                    <a:pt x="200" y="246"/>
                    <a:pt x="202" y="245"/>
                  </a:cubicBezTo>
                  <a:cubicBezTo>
                    <a:pt x="204" y="245"/>
                    <a:pt x="205" y="244"/>
                    <a:pt x="207" y="244"/>
                  </a:cubicBezTo>
                  <a:cubicBezTo>
                    <a:pt x="212" y="244"/>
                    <a:pt x="214" y="247"/>
                    <a:pt x="215" y="253"/>
                  </a:cubicBezTo>
                  <a:cubicBezTo>
                    <a:pt x="216" y="262"/>
                    <a:pt x="215" y="271"/>
                    <a:pt x="212" y="279"/>
                  </a:cubicBezTo>
                  <a:cubicBezTo>
                    <a:pt x="226" y="283"/>
                    <a:pt x="226" y="283"/>
                    <a:pt x="226" y="283"/>
                  </a:cubicBezTo>
                  <a:cubicBezTo>
                    <a:pt x="226" y="281"/>
                    <a:pt x="226" y="279"/>
                    <a:pt x="226" y="278"/>
                  </a:cubicBezTo>
                  <a:cubicBezTo>
                    <a:pt x="226" y="276"/>
                    <a:pt x="226" y="273"/>
                    <a:pt x="225" y="271"/>
                  </a:cubicBezTo>
                  <a:cubicBezTo>
                    <a:pt x="219" y="260"/>
                    <a:pt x="221" y="249"/>
                    <a:pt x="227" y="237"/>
                  </a:cubicBezTo>
                  <a:cubicBezTo>
                    <a:pt x="230" y="245"/>
                    <a:pt x="227" y="253"/>
                    <a:pt x="229" y="260"/>
                  </a:cubicBezTo>
                  <a:cubicBezTo>
                    <a:pt x="231" y="268"/>
                    <a:pt x="233" y="275"/>
                    <a:pt x="238" y="283"/>
                  </a:cubicBezTo>
                  <a:cubicBezTo>
                    <a:pt x="238" y="283"/>
                    <a:pt x="237" y="283"/>
                    <a:pt x="237" y="283"/>
                  </a:cubicBezTo>
                  <a:cubicBezTo>
                    <a:pt x="236" y="283"/>
                    <a:pt x="235" y="283"/>
                    <a:pt x="234" y="282"/>
                  </a:cubicBezTo>
                  <a:cubicBezTo>
                    <a:pt x="233" y="282"/>
                    <a:pt x="232" y="282"/>
                    <a:pt x="231" y="282"/>
                  </a:cubicBezTo>
                  <a:cubicBezTo>
                    <a:pt x="230" y="282"/>
                    <a:pt x="230" y="282"/>
                    <a:pt x="229" y="283"/>
                  </a:cubicBezTo>
                  <a:cubicBezTo>
                    <a:pt x="229" y="283"/>
                    <a:pt x="229" y="283"/>
                    <a:pt x="229" y="284"/>
                  </a:cubicBezTo>
                  <a:cubicBezTo>
                    <a:pt x="406" y="330"/>
                    <a:pt x="406" y="330"/>
                    <a:pt x="406" y="330"/>
                  </a:cubicBezTo>
                  <a:cubicBezTo>
                    <a:pt x="415" y="333"/>
                    <a:pt x="415" y="333"/>
                    <a:pt x="415" y="333"/>
                  </a:cubicBezTo>
                  <a:cubicBezTo>
                    <a:pt x="467" y="161"/>
                    <a:pt x="467" y="161"/>
                    <a:pt x="467" y="161"/>
                  </a:cubicBezTo>
                  <a:cubicBezTo>
                    <a:pt x="459" y="152"/>
                    <a:pt x="451" y="143"/>
                    <a:pt x="442" y="135"/>
                  </a:cubicBezTo>
                  <a:cubicBezTo>
                    <a:pt x="441" y="135"/>
                    <a:pt x="441" y="135"/>
                    <a:pt x="441" y="135"/>
                  </a:cubicBezTo>
                  <a:cubicBezTo>
                    <a:pt x="439" y="135"/>
                    <a:pt x="438" y="134"/>
                    <a:pt x="437" y="132"/>
                  </a:cubicBezTo>
                  <a:cubicBezTo>
                    <a:pt x="436" y="131"/>
                    <a:pt x="435" y="129"/>
                    <a:pt x="434" y="129"/>
                  </a:cubicBezTo>
                  <a:moveTo>
                    <a:pt x="208" y="71"/>
                  </a:moveTo>
                  <a:cubicBezTo>
                    <a:pt x="205" y="71"/>
                    <a:pt x="204" y="71"/>
                    <a:pt x="203" y="67"/>
                  </a:cubicBezTo>
                  <a:cubicBezTo>
                    <a:pt x="203" y="65"/>
                    <a:pt x="202" y="62"/>
                    <a:pt x="204" y="62"/>
                  </a:cubicBezTo>
                  <a:cubicBezTo>
                    <a:pt x="204" y="61"/>
                    <a:pt x="205" y="61"/>
                    <a:pt x="205" y="61"/>
                  </a:cubicBezTo>
                  <a:cubicBezTo>
                    <a:pt x="206" y="61"/>
                    <a:pt x="207" y="64"/>
                    <a:pt x="208" y="65"/>
                  </a:cubicBezTo>
                  <a:cubicBezTo>
                    <a:pt x="209" y="65"/>
                    <a:pt x="210" y="66"/>
                    <a:pt x="211" y="67"/>
                  </a:cubicBezTo>
                  <a:cubicBezTo>
                    <a:pt x="213" y="67"/>
                    <a:pt x="216" y="67"/>
                    <a:pt x="216" y="69"/>
                  </a:cubicBezTo>
                  <a:cubicBezTo>
                    <a:pt x="216" y="71"/>
                    <a:pt x="215" y="71"/>
                    <a:pt x="214" y="71"/>
                  </a:cubicBezTo>
                  <a:cubicBezTo>
                    <a:pt x="213" y="71"/>
                    <a:pt x="213" y="71"/>
                    <a:pt x="213" y="71"/>
                  </a:cubicBezTo>
                  <a:cubicBezTo>
                    <a:pt x="212" y="71"/>
                    <a:pt x="212" y="71"/>
                    <a:pt x="212" y="71"/>
                  </a:cubicBezTo>
                  <a:cubicBezTo>
                    <a:pt x="211" y="71"/>
                    <a:pt x="211" y="71"/>
                    <a:pt x="211" y="71"/>
                  </a:cubicBezTo>
                  <a:cubicBezTo>
                    <a:pt x="210" y="71"/>
                    <a:pt x="210" y="71"/>
                    <a:pt x="209" y="71"/>
                  </a:cubicBezTo>
                  <a:cubicBezTo>
                    <a:pt x="209" y="71"/>
                    <a:pt x="209" y="71"/>
                    <a:pt x="209" y="71"/>
                  </a:cubicBezTo>
                  <a:cubicBezTo>
                    <a:pt x="208" y="71"/>
                    <a:pt x="208" y="71"/>
                    <a:pt x="208" y="71"/>
                  </a:cubicBezTo>
                  <a:moveTo>
                    <a:pt x="217" y="50"/>
                  </a:moveTo>
                  <a:cubicBezTo>
                    <a:pt x="215" y="50"/>
                    <a:pt x="213" y="48"/>
                    <a:pt x="212" y="44"/>
                  </a:cubicBezTo>
                  <a:cubicBezTo>
                    <a:pt x="213" y="44"/>
                    <a:pt x="214" y="44"/>
                    <a:pt x="215" y="44"/>
                  </a:cubicBezTo>
                  <a:cubicBezTo>
                    <a:pt x="215" y="44"/>
                    <a:pt x="216" y="44"/>
                    <a:pt x="217" y="44"/>
                  </a:cubicBezTo>
                  <a:cubicBezTo>
                    <a:pt x="217" y="44"/>
                    <a:pt x="218" y="44"/>
                    <a:pt x="218" y="44"/>
                  </a:cubicBezTo>
                  <a:cubicBezTo>
                    <a:pt x="220" y="44"/>
                    <a:pt x="222" y="45"/>
                    <a:pt x="223" y="47"/>
                  </a:cubicBezTo>
                  <a:cubicBezTo>
                    <a:pt x="224" y="49"/>
                    <a:pt x="221" y="50"/>
                    <a:pt x="219" y="50"/>
                  </a:cubicBezTo>
                  <a:cubicBezTo>
                    <a:pt x="218" y="50"/>
                    <a:pt x="218" y="50"/>
                    <a:pt x="217" y="50"/>
                  </a:cubicBezTo>
                  <a:moveTo>
                    <a:pt x="191" y="56"/>
                  </a:moveTo>
                  <a:cubicBezTo>
                    <a:pt x="189" y="56"/>
                    <a:pt x="187" y="55"/>
                    <a:pt x="186" y="53"/>
                  </a:cubicBezTo>
                  <a:cubicBezTo>
                    <a:pt x="185" y="50"/>
                    <a:pt x="184" y="48"/>
                    <a:pt x="186" y="46"/>
                  </a:cubicBezTo>
                  <a:cubicBezTo>
                    <a:pt x="187" y="44"/>
                    <a:pt x="188" y="43"/>
                    <a:pt x="190" y="43"/>
                  </a:cubicBezTo>
                  <a:cubicBezTo>
                    <a:pt x="191" y="43"/>
                    <a:pt x="193" y="44"/>
                    <a:pt x="194" y="44"/>
                  </a:cubicBezTo>
                  <a:cubicBezTo>
                    <a:pt x="196" y="45"/>
                    <a:pt x="199" y="47"/>
                    <a:pt x="201" y="47"/>
                  </a:cubicBezTo>
                  <a:cubicBezTo>
                    <a:pt x="202" y="47"/>
                    <a:pt x="204" y="47"/>
                    <a:pt x="205" y="45"/>
                  </a:cubicBezTo>
                  <a:cubicBezTo>
                    <a:pt x="205" y="45"/>
                    <a:pt x="206" y="45"/>
                    <a:pt x="206" y="45"/>
                  </a:cubicBezTo>
                  <a:cubicBezTo>
                    <a:pt x="207" y="45"/>
                    <a:pt x="208" y="46"/>
                    <a:pt x="208" y="47"/>
                  </a:cubicBezTo>
                  <a:cubicBezTo>
                    <a:pt x="208" y="50"/>
                    <a:pt x="210" y="52"/>
                    <a:pt x="211" y="56"/>
                  </a:cubicBezTo>
                  <a:cubicBezTo>
                    <a:pt x="207" y="54"/>
                    <a:pt x="204" y="53"/>
                    <a:pt x="201" y="53"/>
                  </a:cubicBezTo>
                  <a:cubicBezTo>
                    <a:pt x="198" y="53"/>
                    <a:pt x="196" y="54"/>
                    <a:pt x="194" y="55"/>
                  </a:cubicBezTo>
                  <a:cubicBezTo>
                    <a:pt x="193" y="56"/>
                    <a:pt x="192" y="56"/>
                    <a:pt x="191" y="56"/>
                  </a:cubicBezTo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65" y="0"/>
                    <a:pt x="32" y="3"/>
                    <a:pt x="0" y="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6" y="39"/>
                    <a:pt x="27" y="39"/>
                    <a:pt x="29" y="39"/>
                  </a:cubicBezTo>
                  <a:cubicBezTo>
                    <a:pt x="31" y="38"/>
                    <a:pt x="34" y="37"/>
                    <a:pt x="37" y="37"/>
                  </a:cubicBezTo>
                  <a:cubicBezTo>
                    <a:pt x="40" y="37"/>
                    <a:pt x="44" y="38"/>
                    <a:pt x="47" y="41"/>
                  </a:cubicBezTo>
                  <a:cubicBezTo>
                    <a:pt x="47" y="41"/>
                    <a:pt x="48" y="41"/>
                    <a:pt x="49" y="41"/>
                  </a:cubicBezTo>
                  <a:cubicBezTo>
                    <a:pt x="49" y="41"/>
                    <a:pt x="50" y="41"/>
                    <a:pt x="51" y="41"/>
                  </a:cubicBezTo>
                  <a:cubicBezTo>
                    <a:pt x="50" y="47"/>
                    <a:pt x="51" y="54"/>
                    <a:pt x="43" y="56"/>
                  </a:cubicBezTo>
                  <a:cubicBezTo>
                    <a:pt x="42" y="56"/>
                    <a:pt x="41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1" y="57"/>
                    <a:pt x="42" y="57"/>
                    <a:pt x="43" y="57"/>
                  </a:cubicBezTo>
                  <a:cubicBezTo>
                    <a:pt x="43" y="57"/>
                    <a:pt x="44" y="57"/>
                    <a:pt x="44" y="57"/>
                  </a:cubicBezTo>
                  <a:cubicBezTo>
                    <a:pt x="47" y="57"/>
                    <a:pt x="49" y="59"/>
                    <a:pt x="50" y="62"/>
                  </a:cubicBezTo>
                  <a:cubicBezTo>
                    <a:pt x="51" y="67"/>
                    <a:pt x="53" y="70"/>
                    <a:pt x="57" y="70"/>
                  </a:cubicBezTo>
                  <a:cubicBezTo>
                    <a:pt x="58" y="70"/>
                    <a:pt x="60" y="70"/>
                    <a:pt x="62" y="69"/>
                  </a:cubicBezTo>
                  <a:cubicBezTo>
                    <a:pt x="64" y="68"/>
                    <a:pt x="67" y="68"/>
                    <a:pt x="69" y="68"/>
                  </a:cubicBezTo>
                  <a:cubicBezTo>
                    <a:pt x="74" y="68"/>
                    <a:pt x="78" y="69"/>
                    <a:pt x="83" y="72"/>
                  </a:cubicBezTo>
                  <a:cubicBezTo>
                    <a:pt x="86" y="74"/>
                    <a:pt x="90" y="75"/>
                    <a:pt x="94" y="75"/>
                  </a:cubicBezTo>
                  <a:cubicBezTo>
                    <a:pt x="99" y="75"/>
                    <a:pt x="103" y="74"/>
                    <a:pt x="107" y="72"/>
                  </a:cubicBezTo>
                  <a:cubicBezTo>
                    <a:pt x="111" y="70"/>
                    <a:pt x="116" y="69"/>
                    <a:pt x="120" y="69"/>
                  </a:cubicBezTo>
                  <a:cubicBezTo>
                    <a:pt x="124" y="69"/>
                    <a:pt x="127" y="70"/>
                    <a:pt x="131" y="70"/>
                  </a:cubicBezTo>
                  <a:cubicBezTo>
                    <a:pt x="133" y="70"/>
                    <a:pt x="135" y="72"/>
                    <a:pt x="136" y="74"/>
                  </a:cubicBezTo>
                  <a:cubicBezTo>
                    <a:pt x="136" y="77"/>
                    <a:pt x="134" y="77"/>
                    <a:pt x="132" y="77"/>
                  </a:cubicBezTo>
                  <a:cubicBezTo>
                    <a:pt x="128" y="78"/>
                    <a:pt x="129" y="80"/>
                    <a:pt x="131" y="82"/>
                  </a:cubicBezTo>
                  <a:cubicBezTo>
                    <a:pt x="136" y="89"/>
                    <a:pt x="143" y="94"/>
                    <a:pt x="151" y="98"/>
                  </a:cubicBezTo>
                  <a:cubicBezTo>
                    <a:pt x="152" y="98"/>
                    <a:pt x="152" y="98"/>
                    <a:pt x="153" y="98"/>
                  </a:cubicBezTo>
                  <a:cubicBezTo>
                    <a:pt x="156" y="98"/>
                    <a:pt x="157" y="96"/>
                    <a:pt x="158" y="93"/>
                  </a:cubicBezTo>
                  <a:cubicBezTo>
                    <a:pt x="159" y="91"/>
                    <a:pt x="160" y="90"/>
                    <a:pt x="163" y="90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4" y="90"/>
                    <a:pt x="164" y="90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5" y="90"/>
                    <a:pt x="165" y="90"/>
                    <a:pt x="165" y="90"/>
                  </a:cubicBezTo>
                  <a:cubicBezTo>
                    <a:pt x="174" y="90"/>
                    <a:pt x="183" y="91"/>
                    <a:pt x="191" y="92"/>
                  </a:cubicBezTo>
                  <a:cubicBezTo>
                    <a:pt x="192" y="92"/>
                    <a:pt x="192" y="92"/>
                    <a:pt x="192" y="92"/>
                  </a:cubicBezTo>
                  <a:cubicBezTo>
                    <a:pt x="199" y="92"/>
                    <a:pt x="201" y="88"/>
                    <a:pt x="201" y="81"/>
                  </a:cubicBezTo>
                  <a:cubicBezTo>
                    <a:pt x="201" y="79"/>
                    <a:pt x="202" y="78"/>
                    <a:pt x="204" y="78"/>
                  </a:cubicBezTo>
                  <a:cubicBezTo>
                    <a:pt x="205" y="78"/>
                    <a:pt x="205" y="78"/>
                    <a:pt x="206" y="78"/>
                  </a:cubicBezTo>
                  <a:cubicBezTo>
                    <a:pt x="209" y="78"/>
                    <a:pt x="213" y="79"/>
                    <a:pt x="217" y="79"/>
                  </a:cubicBezTo>
                  <a:cubicBezTo>
                    <a:pt x="220" y="79"/>
                    <a:pt x="223" y="78"/>
                    <a:pt x="227" y="78"/>
                  </a:cubicBezTo>
                  <a:cubicBezTo>
                    <a:pt x="227" y="78"/>
                    <a:pt x="227" y="78"/>
                    <a:pt x="227" y="78"/>
                  </a:cubicBezTo>
                  <a:cubicBezTo>
                    <a:pt x="230" y="78"/>
                    <a:pt x="232" y="80"/>
                    <a:pt x="229" y="83"/>
                  </a:cubicBezTo>
                  <a:cubicBezTo>
                    <a:pt x="228" y="84"/>
                    <a:pt x="227" y="85"/>
                    <a:pt x="228" y="87"/>
                  </a:cubicBezTo>
                  <a:cubicBezTo>
                    <a:pt x="229" y="87"/>
                    <a:pt x="229" y="87"/>
                    <a:pt x="230" y="87"/>
                  </a:cubicBezTo>
                  <a:cubicBezTo>
                    <a:pt x="231" y="87"/>
                    <a:pt x="232" y="86"/>
                    <a:pt x="233" y="86"/>
                  </a:cubicBezTo>
                  <a:cubicBezTo>
                    <a:pt x="236" y="85"/>
                    <a:pt x="238" y="83"/>
                    <a:pt x="240" y="82"/>
                  </a:cubicBezTo>
                  <a:cubicBezTo>
                    <a:pt x="243" y="81"/>
                    <a:pt x="245" y="80"/>
                    <a:pt x="246" y="80"/>
                  </a:cubicBezTo>
                  <a:cubicBezTo>
                    <a:pt x="249" y="80"/>
                    <a:pt x="251" y="82"/>
                    <a:pt x="254" y="86"/>
                  </a:cubicBezTo>
                  <a:cubicBezTo>
                    <a:pt x="254" y="87"/>
                    <a:pt x="255" y="88"/>
                    <a:pt x="256" y="89"/>
                  </a:cubicBezTo>
                  <a:cubicBezTo>
                    <a:pt x="262" y="90"/>
                    <a:pt x="269" y="95"/>
                    <a:pt x="275" y="95"/>
                  </a:cubicBezTo>
                  <a:cubicBezTo>
                    <a:pt x="277" y="95"/>
                    <a:pt x="279" y="94"/>
                    <a:pt x="281" y="94"/>
                  </a:cubicBezTo>
                  <a:cubicBezTo>
                    <a:pt x="284" y="92"/>
                    <a:pt x="288" y="92"/>
                    <a:pt x="292" y="92"/>
                  </a:cubicBezTo>
                  <a:cubicBezTo>
                    <a:pt x="295" y="92"/>
                    <a:pt x="298" y="92"/>
                    <a:pt x="302" y="92"/>
                  </a:cubicBezTo>
                  <a:cubicBezTo>
                    <a:pt x="305" y="92"/>
                    <a:pt x="308" y="94"/>
                    <a:pt x="309" y="97"/>
                  </a:cubicBezTo>
                  <a:cubicBezTo>
                    <a:pt x="312" y="104"/>
                    <a:pt x="317" y="104"/>
                    <a:pt x="322" y="105"/>
                  </a:cubicBezTo>
                  <a:cubicBezTo>
                    <a:pt x="323" y="105"/>
                    <a:pt x="324" y="105"/>
                    <a:pt x="325" y="105"/>
                  </a:cubicBezTo>
                  <a:cubicBezTo>
                    <a:pt x="328" y="105"/>
                    <a:pt x="330" y="104"/>
                    <a:pt x="333" y="104"/>
                  </a:cubicBezTo>
                  <a:cubicBezTo>
                    <a:pt x="336" y="104"/>
                    <a:pt x="339" y="104"/>
                    <a:pt x="341" y="104"/>
                  </a:cubicBezTo>
                  <a:cubicBezTo>
                    <a:pt x="344" y="104"/>
                    <a:pt x="346" y="104"/>
                    <a:pt x="349" y="105"/>
                  </a:cubicBezTo>
                  <a:cubicBezTo>
                    <a:pt x="353" y="105"/>
                    <a:pt x="358" y="106"/>
                    <a:pt x="362" y="108"/>
                  </a:cubicBezTo>
                  <a:cubicBezTo>
                    <a:pt x="364" y="108"/>
                    <a:pt x="366" y="110"/>
                    <a:pt x="368" y="110"/>
                  </a:cubicBezTo>
                  <a:cubicBezTo>
                    <a:pt x="369" y="110"/>
                    <a:pt x="370" y="109"/>
                    <a:pt x="371" y="109"/>
                  </a:cubicBezTo>
                  <a:cubicBezTo>
                    <a:pt x="373" y="107"/>
                    <a:pt x="371" y="103"/>
                    <a:pt x="370" y="100"/>
                  </a:cubicBezTo>
                  <a:cubicBezTo>
                    <a:pt x="370" y="99"/>
                    <a:pt x="370" y="98"/>
                    <a:pt x="369" y="97"/>
                  </a:cubicBezTo>
                  <a:cubicBezTo>
                    <a:pt x="379" y="98"/>
                    <a:pt x="389" y="99"/>
                    <a:pt x="400" y="100"/>
                  </a:cubicBezTo>
                  <a:cubicBezTo>
                    <a:pt x="319" y="39"/>
                    <a:pt x="220" y="3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111" y="0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0"/>
                    <a:pt x="109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6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2" y="0"/>
                    <a:pt x="102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</a:path>
              </a:pathLst>
            </a:custGeom>
            <a:solidFill>
              <a:srgbClr val="1EB2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1" name="i$ļîdê"/>
            <p:cNvSpPr/>
            <p:nvPr/>
          </p:nvSpPr>
          <p:spPr bwMode="auto">
            <a:xfrm>
              <a:off x="5853112" y="1901032"/>
              <a:ext cx="1376363" cy="796925"/>
            </a:xfrm>
            <a:custGeom>
              <a:avLst/>
              <a:gdLst>
                <a:gd name="T0" fmla="*/ 137 w 417"/>
                <a:gd name="T1" fmla="*/ 165 h 242"/>
                <a:gd name="T2" fmla="*/ 190 w 417"/>
                <a:gd name="T3" fmla="*/ 216 h 242"/>
                <a:gd name="T4" fmla="*/ 171 w 417"/>
                <a:gd name="T5" fmla="*/ 210 h 242"/>
                <a:gd name="T6" fmla="*/ 159 w 417"/>
                <a:gd name="T7" fmla="*/ 196 h 242"/>
                <a:gd name="T8" fmla="*/ 212 w 417"/>
                <a:gd name="T9" fmla="*/ 160 h 242"/>
                <a:gd name="T10" fmla="*/ 240 w 417"/>
                <a:gd name="T11" fmla="*/ 158 h 242"/>
                <a:gd name="T12" fmla="*/ 261 w 417"/>
                <a:gd name="T13" fmla="*/ 162 h 242"/>
                <a:gd name="T14" fmla="*/ 295 w 417"/>
                <a:gd name="T15" fmla="*/ 137 h 242"/>
                <a:gd name="T16" fmla="*/ 300 w 417"/>
                <a:gd name="T17" fmla="*/ 148 h 242"/>
                <a:gd name="T18" fmla="*/ 319 w 417"/>
                <a:gd name="T19" fmla="*/ 130 h 242"/>
                <a:gd name="T20" fmla="*/ 316 w 417"/>
                <a:gd name="T21" fmla="*/ 145 h 242"/>
                <a:gd name="T22" fmla="*/ 277 w 417"/>
                <a:gd name="T23" fmla="*/ 188 h 242"/>
                <a:gd name="T24" fmla="*/ 287 w 417"/>
                <a:gd name="T25" fmla="*/ 223 h 242"/>
                <a:gd name="T26" fmla="*/ 311 w 417"/>
                <a:gd name="T27" fmla="*/ 192 h 242"/>
                <a:gd name="T28" fmla="*/ 313 w 417"/>
                <a:gd name="T29" fmla="*/ 169 h 242"/>
                <a:gd name="T30" fmla="*/ 344 w 417"/>
                <a:gd name="T31" fmla="*/ 144 h 242"/>
                <a:gd name="T32" fmla="*/ 363 w 417"/>
                <a:gd name="T33" fmla="*/ 144 h 242"/>
                <a:gd name="T34" fmla="*/ 397 w 417"/>
                <a:gd name="T35" fmla="*/ 127 h 242"/>
                <a:gd name="T36" fmla="*/ 405 w 417"/>
                <a:gd name="T37" fmla="*/ 127 h 242"/>
                <a:gd name="T38" fmla="*/ 386 w 417"/>
                <a:gd name="T39" fmla="*/ 106 h 242"/>
                <a:gd name="T40" fmla="*/ 401 w 417"/>
                <a:gd name="T41" fmla="*/ 106 h 242"/>
                <a:gd name="T42" fmla="*/ 409 w 417"/>
                <a:gd name="T43" fmla="*/ 92 h 242"/>
                <a:gd name="T44" fmla="*/ 417 w 417"/>
                <a:gd name="T45" fmla="*/ 98 h 242"/>
                <a:gd name="T46" fmla="*/ 375 w 417"/>
                <a:gd name="T47" fmla="*/ 63 h 242"/>
                <a:gd name="T48" fmla="*/ 375 w 417"/>
                <a:gd name="T49" fmla="*/ 63 h 242"/>
                <a:gd name="T50" fmla="*/ 346 w 417"/>
                <a:gd name="T51" fmla="*/ 72 h 242"/>
                <a:gd name="T52" fmla="*/ 324 w 417"/>
                <a:gd name="T53" fmla="*/ 68 h 242"/>
                <a:gd name="T54" fmla="*/ 300 w 417"/>
                <a:gd name="T55" fmla="*/ 68 h 242"/>
                <a:gd name="T56" fmla="*/ 277 w 417"/>
                <a:gd name="T57" fmla="*/ 55 h 242"/>
                <a:gd name="T58" fmla="*/ 250 w 417"/>
                <a:gd name="T59" fmla="*/ 58 h 242"/>
                <a:gd name="T60" fmla="*/ 221 w 417"/>
                <a:gd name="T61" fmla="*/ 43 h 242"/>
                <a:gd name="T62" fmla="*/ 205 w 417"/>
                <a:gd name="T63" fmla="*/ 50 h 242"/>
                <a:gd name="T64" fmla="*/ 202 w 417"/>
                <a:gd name="T65" fmla="*/ 41 h 242"/>
                <a:gd name="T66" fmla="*/ 181 w 417"/>
                <a:gd name="T67" fmla="*/ 41 h 242"/>
                <a:gd name="T68" fmla="*/ 167 w 417"/>
                <a:gd name="T69" fmla="*/ 55 h 242"/>
                <a:gd name="T70" fmla="*/ 139 w 417"/>
                <a:gd name="T71" fmla="*/ 53 h 242"/>
                <a:gd name="T72" fmla="*/ 138 w 417"/>
                <a:gd name="T73" fmla="*/ 53 h 242"/>
                <a:gd name="T74" fmla="*/ 126 w 417"/>
                <a:gd name="T75" fmla="*/ 61 h 242"/>
                <a:gd name="T76" fmla="*/ 111 w 417"/>
                <a:gd name="T77" fmla="*/ 37 h 242"/>
                <a:gd name="T78" fmla="*/ 82 w 417"/>
                <a:gd name="T79" fmla="*/ 35 h 242"/>
                <a:gd name="T80" fmla="*/ 44 w 417"/>
                <a:gd name="T81" fmla="*/ 31 h 242"/>
                <a:gd name="T82" fmla="*/ 25 w 417"/>
                <a:gd name="T83" fmla="*/ 25 h 242"/>
                <a:gd name="T84" fmla="*/ 15 w 417"/>
                <a:gd name="T85" fmla="*/ 20 h 242"/>
                <a:gd name="T86" fmla="*/ 0 w 417"/>
                <a:gd name="T87" fmla="*/ 2 h 242"/>
                <a:gd name="T88" fmla="*/ 26 w 417"/>
                <a:gd name="T89" fmla="*/ 4 h 242"/>
                <a:gd name="T90" fmla="*/ 12 w 417"/>
                <a:gd name="T91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7" h="242">
                  <a:moveTo>
                    <a:pt x="15" y="20"/>
                  </a:moveTo>
                  <a:cubicBezTo>
                    <a:pt x="15" y="20"/>
                    <a:pt x="15" y="20"/>
                    <a:pt x="15" y="20"/>
                  </a:cubicBezTo>
                  <a:cubicBezTo>
                    <a:pt x="137" y="165"/>
                    <a:pt x="137" y="165"/>
                    <a:pt x="137" y="165"/>
                  </a:cubicBezTo>
                  <a:cubicBezTo>
                    <a:pt x="55" y="207"/>
                    <a:pt x="55" y="207"/>
                    <a:pt x="55" y="207"/>
                  </a:cubicBezTo>
                  <a:cubicBezTo>
                    <a:pt x="187" y="242"/>
                    <a:pt x="187" y="242"/>
                    <a:pt x="187" y="242"/>
                  </a:cubicBezTo>
                  <a:cubicBezTo>
                    <a:pt x="190" y="234"/>
                    <a:pt x="191" y="225"/>
                    <a:pt x="190" y="216"/>
                  </a:cubicBezTo>
                  <a:cubicBezTo>
                    <a:pt x="189" y="210"/>
                    <a:pt x="187" y="207"/>
                    <a:pt x="182" y="207"/>
                  </a:cubicBezTo>
                  <a:cubicBezTo>
                    <a:pt x="180" y="207"/>
                    <a:pt x="179" y="208"/>
                    <a:pt x="177" y="208"/>
                  </a:cubicBezTo>
                  <a:cubicBezTo>
                    <a:pt x="175" y="209"/>
                    <a:pt x="173" y="210"/>
                    <a:pt x="171" y="210"/>
                  </a:cubicBezTo>
                  <a:cubicBezTo>
                    <a:pt x="169" y="210"/>
                    <a:pt x="168" y="209"/>
                    <a:pt x="166" y="207"/>
                  </a:cubicBezTo>
                  <a:cubicBezTo>
                    <a:pt x="165" y="206"/>
                    <a:pt x="163" y="204"/>
                    <a:pt x="161" y="204"/>
                  </a:cubicBezTo>
                  <a:cubicBezTo>
                    <a:pt x="154" y="202"/>
                    <a:pt x="157" y="199"/>
                    <a:pt x="159" y="196"/>
                  </a:cubicBezTo>
                  <a:cubicBezTo>
                    <a:pt x="171" y="184"/>
                    <a:pt x="184" y="173"/>
                    <a:pt x="198" y="164"/>
                  </a:cubicBezTo>
                  <a:cubicBezTo>
                    <a:pt x="201" y="161"/>
                    <a:pt x="204" y="160"/>
                    <a:pt x="208" y="160"/>
                  </a:cubicBezTo>
                  <a:cubicBezTo>
                    <a:pt x="209" y="160"/>
                    <a:pt x="211" y="160"/>
                    <a:pt x="212" y="160"/>
                  </a:cubicBezTo>
                  <a:cubicBezTo>
                    <a:pt x="215" y="162"/>
                    <a:pt x="218" y="162"/>
                    <a:pt x="221" y="162"/>
                  </a:cubicBezTo>
                  <a:cubicBezTo>
                    <a:pt x="226" y="162"/>
                    <a:pt x="231" y="161"/>
                    <a:pt x="236" y="159"/>
                  </a:cubicBezTo>
                  <a:cubicBezTo>
                    <a:pt x="238" y="158"/>
                    <a:pt x="239" y="158"/>
                    <a:pt x="240" y="158"/>
                  </a:cubicBezTo>
                  <a:cubicBezTo>
                    <a:pt x="242" y="158"/>
                    <a:pt x="243" y="158"/>
                    <a:pt x="244" y="159"/>
                  </a:cubicBezTo>
                  <a:cubicBezTo>
                    <a:pt x="249" y="161"/>
                    <a:pt x="254" y="161"/>
                    <a:pt x="259" y="162"/>
                  </a:cubicBezTo>
                  <a:cubicBezTo>
                    <a:pt x="260" y="162"/>
                    <a:pt x="260" y="162"/>
                    <a:pt x="261" y="162"/>
                  </a:cubicBezTo>
                  <a:cubicBezTo>
                    <a:pt x="263" y="162"/>
                    <a:pt x="265" y="161"/>
                    <a:pt x="266" y="158"/>
                  </a:cubicBezTo>
                  <a:cubicBezTo>
                    <a:pt x="269" y="148"/>
                    <a:pt x="285" y="137"/>
                    <a:pt x="295" y="137"/>
                  </a:cubicBezTo>
                  <a:cubicBezTo>
                    <a:pt x="295" y="137"/>
                    <a:pt x="295" y="137"/>
                    <a:pt x="295" y="137"/>
                  </a:cubicBezTo>
                  <a:cubicBezTo>
                    <a:pt x="299" y="137"/>
                    <a:pt x="303" y="138"/>
                    <a:pt x="299" y="143"/>
                  </a:cubicBezTo>
                  <a:cubicBezTo>
                    <a:pt x="298" y="145"/>
                    <a:pt x="297" y="147"/>
                    <a:pt x="299" y="148"/>
                  </a:cubicBezTo>
                  <a:cubicBezTo>
                    <a:pt x="299" y="148"/>
                    <a:pt x="299" y="148"/>
                    <a:pt x="300" y="148"/>
                  </a:cubicBezTo>
                  <a:cubicBezTo>
                    <a:pt x="301" y="148"/>
                    <a:pt x="301" y="148"/>
                    <a:pt x="302" y="147"/>
                  </a:cubicBezTo>
                  <a:cubicBezTo>
                    <a:pt x="307" y="142"/>
                    <a:pt x="314" y="140"/>
                    <a:pt x="316" y="133"/>
                  </a:cubicBezTo>
                  <a:cubicBezTo>
                    <a:pt x="316" y="131"/>
                    <a:pt x="318" y="130"/>
                    <a:pt x="319" y="130"/>
                  </a:cubicBezTo>
                  <a:cubicBezTo>
                    <a:pt x="320" y="130"/>
                    <a:pt x="321" y="130"/>
                    <a:pt x="321" y="130"/>
                  </a:cubicBezTo>
                  <a:cubicBezTo>
                    <a:pt x="323" y="132"/>
                    <a:pt x="323" y="134"/>
                    <a:pt x="322" y="136"/>
                  </a:cubicBezTo>
                  <a:cubicBezTo>
                    <a:pt x="321" y="139"/>
                    <a:pt x="320" y="143"/>
                    <a:pt x="316" y="145"/>
                  </a:cubicBezTo>
                  <a:cubicBezTo>
                    <a:pt x="308" y="150"/>
                    <a:pt x="302" y="157"/>
                    <a:pt x="296" y="164"/>
                  </a:cubicBezTo>
                  <a:cubicBezTo>
                    <a:pt x="293" y="167"/>
                    <a:pt x="291" y="170"/>
                    <a:pt x="287" y="172"/>
                  </a:cubicBezTo>
                  <a:cubicBezTo>
                    <a:pt x="280" y="176"/>
                    <a:pt x="277" y="181"/>
                    <a:pt x="277" y="188"/>
                  </a:cubicBezTo>
                  <a:cubicBezTo>
                    <a:pt x="276" y="200"/>
                    <a:pt x="278" y="211"/>
                    <a:pt x="283" y="222"/>
                  </a:cubicBezTo>
                  <a:cubicBezTo>
                    <a:pt x="284" y="223"/>
                    <a:pt x="285" y="224"/>
                    <a:pt x="285" y="224"/>
                  </a:cubicBezTo>
                  <a:cubicBezTo>
                    <a:pt x="286" y="224"/>
                    <a:pt x="286" y="224"/>
                    <a:pt x="287" y="223"/>
                  </a:cubicBezTo>
                  <a:cubicBezTo>
                    <a:pt x="290" y="216"/>
                    <a:pt x="300" y="213"/>
                    <a:pt x="301" y="204"/>
                  </a:cubicBezTo>
                  <a:cubicBezTo>
                    <a:pt x="301" y="200"/>
                    <a:pt x="304" y="196"/>
                    <a:pt x="309" y="196"/>
                  </a:cubicBezTo>
                  <a:cubicBezTo>
                    <a:pt x="311" y="195"/>
                    <a:pt x="312" y="195"/>
                    <a:pt x="311" y="192"/>
                  </a:cubicBezTo>
                  <a:cubicBezTo>
                    <a:pt x="310" y="188"/>
                    <a:pt x="311" y="183"/>
                    <a:pt x="317" y="182"/>
                  </a:cubicBezTo>
                  <a:cubicBezTo>
                    <a:pt x="318" y="181"/>
                    <a:pt x="318" y="180"/>
                    <a:pt x="318" y="179"/>
                  </a:cubicBezTo>
                  <a:cubicBezTo>
                    <a:pt x="314" y="177"/>
                    <a:pt x="315" y="172"/>
                    <a:pt x="313" y="169"/>
                  </a:cubicBezTo>
                  <a:cubicBezTo>
                    <a:pt x="310" y="161"/>
                    <a:pt x="314" y="154"/>
                    <a:pt x="323" y="152"/>
                  </a:cubicBezTo>
                  <a:cubicBezTo>
                    <a:pt x="325" y="152"/>
                    <a:pt x="326" y="150"/>
                    <a:pt x="328" y="149"/>
                  </a:cubicBezTo>
                  <a:cubicBezTo>
                    <a:pt x="333" y="146"/>
                    <a:pt x="338" y="144"/>
                    <a:pt x="344" y="144"/>
                  </a:cubicBezTo>
                  <a:cubicBezTo>
                    <a:pt x="346" y="144"/>
                    <a:pt x="348" y="144"/>
                    <a:pt x="350" y="145"/>
                  </a:cubicBezTo>
                  <a:cubicBezTo>
                    <a:pt x="353" y="146"/>
                    <a:pt x="354" y="147"/>
                    <a:pt x="356" y="147"/>
                  </a:cubicBezTo>
                  <a:cubicBezTo>
                    <a:pt x="359" y="147"/>
                    <a:pt x="361" y="146"/>
                    <a:pt x="363" y="144"/>
                  </a:cubicBezTo>
                  <a:cubicBezTo>
                    <a:pt x="366" y="141"/>
                    <a:pt x="369" y="139"/>
                    <a:pt x="372" y="137"/>
                  </a:cubicBezTo>
                  <a:cubicBezTo>
                    <a:pt x="380" y="133"/>
                    <a:pt x="387" y="128"/>
                    <a:pt x="397" y="127"/>
                  </a:cubicBezTo>
                  <a:cubicBezTo>
                    <a:pt x="397" y="127"/>
                    <a:pt x="397" y="127"/>
                    <a:pt x="397" y="127"/>
                  </a:cubicBezTo>
                  <a:cubicBezTo>
                    <a:pt x="398" y="127"/>
                    <a:pt x="399" y="127"/>
                    <a:pt x="399" y="128"/>
                  </a:cubicBezTo>
                  <a:cubicBezTo>
                    <a:pt x="400" y="128"/>
                    <a:pt x="401" y="128"/>
                    <a:pt x="402" y="128"/>
                  </a:cubicBezTo>
                  <a:cubicBezTo>
                    <a:pt x="403" y="128"/>
                    <a:pt x="404" y="128"/>
                    <a:pt x="405" y="127"/>
                  </a:cubicBezTo>
                  <a:cubicBezTo>
                    <a:pt x="406" y="124"/>
                    <a:pt x="403" y="121"/>
                    <a:pt x="402" y="118"/>
                  </a:cubicBezTo>
                  <a:cubicBezTo>
                    <a:pt x="399" y="115"/>
                    <a:pt x="397" y="112"/>
                    <a:pt x="392" y="111"/>
                  </a:cubicBezTo>
                  <a:cubicBezTo>
                    <a:pt x="389" y="111"/>
                    <a:pt x="386" y="109"/>
                    <a:pt x="386" y="106"/>
                  </a:cubicBezTo>
                  <a:cubicBezTo>
                    <a:pt x="387" y="104"/>
                    <a:pt x="388" y="104"/>
                    <a:pt x="389" y="104"/>
                  </a:cubicBezTo>
                  <a:cubicBezTo>
                    <a:pt x="390" y="104"/>
                    <a:pt x="392" y="104"/>
                    <a:pt x="393" y="105"/>
                  </a:cubicBezTo>
                  <a:cubicBezTo>
                    <a:pt x="397" y="105"/>
                    <a:pt x="399" y="106"/>
                    <a:pt x="401" y="106"/>
                  </a:cubicBezTo>
                  <a:cubicBezTo>
                    <a:pt x="405" y="106"/>
                    <a:pt x="406" y="103"/>
                    <a:pt x="406" y="96"/>
                  </a:cubicBezTo>
                  <a:cubicBezTo>
                    <a:pt x="406" y="95"/>
                    <a:pt x="406" y="93"/>
                    <a:pt x="408" y="92"/>
                  </a:cubicBezTo>
                  <a:cubicBezTo>
                    <a:pt x="408" y="92"/>
                    <a:pt x="409" y="92"/>
                    <a:pt x="409" y="92"/>
                  </a:cubicBezTo>
                  <a:cubicBezTo>
                    <a:pt x="410" y="92"/>
                    <a:pt x="411" y="94"/>
                    <a:pt x="412" y="95"/>
                  </a:cubicBezTo>
                  <a:cubicBezTo>
                    <a:pt x="413" y="97"/>
                    <a:pt x="414" y="98"/>
                    <a:pt x="416" y="98"/>
                  </a:cubicBezTo>
                  <a:cubicBezTo>
                    <a:pt x="416" y="98"/>
                    <a:pt x="416" y="98"/>
                    <a:pt x="417" y="98"/>
                  </a:cubicBezTo>
                  <a:cubicBezTo>
                    <a:pt x="417" y="98"/>
                    <a:pt x="417" y="98"/>
                    <a:pt x="417" y="98"/>
                  </a:cubicBezTo>
                  <a:cubicBezTo>
                    <a:pt x="417" y="98"/>
                    <a:pt x="417" y="98"/>
                    <a:pt x="417" y="98"/>
                  </a:cubicBezTo>
                  <a:cubicBezTo>
                    <a:pt x="404" y="86"/>
                    <a:pt x="390" y="74"/>
                    <a:pt x="375" y="63"/>
                  </a:cubicBezTo>
                  <a:cubicBezTo>
                    <a:pt x="375" y="63"/>
                    <a:pt x="375" y="63"/>
                    <a:pt x="375" y="63"/>
                  </a:cubicBezTo>
                  <a:cubicBezTo>
                    <a:pt x="375" y="63"/>
                    <a:pt x="375" y="63"/>
                    <a:pt x="375" y="63"/>
                  </a:cubicBezTo>
                  <a:cubicBezTo>
                    <a:pt x="375" y="63"/>
                    <a:pt x="375" y="63"/>
                    <a:pt x="375" y="63"/>
                  </a:cubicBezTo>
                  <a:cubicBezTo>
                    <a:pt x="364" y="62"/>
                    <a:pt x="354" y="61"/>
                    <a:pt x="344" y="60"/>
                  </a:cubicBezTo>
                  <a:cubicBezTo>
                    <a:pt x="345" y="61"/>
                    <a:pt x="345" y="62"/>
                    <a:pt x="345" y="63"/>
                  </a:cubicBezTo>
                  <a:cubicBezTo>
                    <a:pt x="346" y="66"/>
                    <a:pt x="348" y="70"/>
                    <a:pt x="346" y="72"/>
                  </a:cubicBezTo>
                  <a:cubicBezTo>
                    <a:pt x="345" y="72"/>
                    <a:pt x="344" y="73"/>
                    <a:pt x="343" y="73"/>
                  </a:cubicBezTo>
                  <a:cubicBezTo>
                    <a:pt x="341" y="73"/>
                    <a:pt x="339" y="71"/>
                    <a:pt x="337" y="71"/>
                  </a:cubicBezTo>
                  <a:cubicBezTo>
                    <a:pt x="333" y="69"/>
                    <a:pt x="328" y="68"/>
                    <a:pt x="324" y="68"/>
                  </a:cubicBezTo>
                  <a:cubicBezTo>
                    <a:pt x="321" y="67"/>
                    <a:pt x="319" y="67"/>
                    <a:pt x="316" y="67"/>
                  </a:cubicBezTo>
                  <a:cubicBezTo>
                    <a:pt x="314" y="67"/>
                    <a:pt x="311" y="67"/>
                    <a:pt x="308" y="67"/>
                  </a:cubicBezTo>
                  <a:cubicBezTo>
                    <a:pt x="305" y="67"/>
                    <a:pt x="303" y="68"/>
                    <a:pt x="300" y="68"/>
                  </a:cubicBezTo>
                  <a:cubicBezTo>
                    <a:pt x="299" y="68"/>
                    <a:pt x="298" y="68"/>
                    <a:pt x="297" y="68"/>
                  </a:cubicBezTo>
                  <a:cubicBezTo>
                    <a:pt x="292" y="67"/>
                    <a:pt x="287" y="67"/>
                    <a:pt x="284" y="60"/>
                  </a:cubicBezTo>
                  <a:cubicBezTo>
                    <a:pt x="283" y="57"/>
                    <a:pt x="280" y="55"/>
                    <a:pt x="277" y="55"/>
                  </a:cubicBezTo>
                  <a:cubicBezTo>
                    <a:pt x="273" y="55"/>
                    <a:pt x="270" y="55"/>
                    <a:pt x="267" y="55"/>
                  </a:cubicBezTo>
                  <a:cubicBezTo>
                    <a:pt x="263" y="55"/>
                    <a:pt x="259" y="55"/>
                    <a:pt x="256" y="57"/>
                  </a:cubicBezTo>
                  <a:cubicBezTo>
                    <a:pt x="254" y="57"/>
                    <a:pt x="252" y="58"/>
                    <a:pt x="250" y="58"/>
                  </a:cubicBezTo>
                  <a:cubicBezTo>
                    <a:pt x="244" y="58"/>
                    <a:pt x="237" y="53"/>
                    <a:pt x="231" y="52"/>
                  </a:cubicBezTo>
                  <a:cubicBezTo>
                    <a:pt x="230" y="51"/>
                    <a:pt x="229" y="50"/>
                    <a:pt x="229" y="49"/>
                  </a:cubicBezTo>
                  <a:cubicBezTo>
                    <a:pt x="226" y="45"/>
                    <a:pt x="224" y="43"/>
                    <a:pt x="221" y="43"/>
                  </a:cubicBezTo>
                  <a:cubicBezTo>
                    <a:pt x="220" y="43"/>
                    <a:pt x="218" y="44"/>
                    <a:pt x="215" y="45"/>
                  </a:cubicBezTo>
                  <a:cubicBezTo>
                    <a:pt x="213" y="46"/>
                    <a:pt x="211" y="48"/>
                    <a:pt x="208" y="49"/>
                  </a:cubicBezTo>
                  <a:cubicBezTo>
                    <a:pt x="207" y="49"/>
                    <a:pt x="206" y="50"/>
                    <a:pt x="205" y="50"/>
                  </a:cubicBezTo>
                  <a:cubicBezTo>
                    <a:pt x="204" y="50"/>
                    <a:pt x="204" y="50"/>
                    <a:pt x="203" y="50"/>
                  </a:cubicBezTo>
                  <a:cubicBezTo>
                    <a:pt x="202" y="48"/>
                    <a:pt x="203" y="47"/>
                    <a:pt x="204" y="46"/>
                  </a:cubicBezTo>
                  <a:cubicBezTo>
                    <a:pt x="207" y="43"/>
                    <a:pt x="205" y="41"/>
                    <a:pt x="202" y="41"/>
                  </a:cubicBezTo>
                  <a:cubicBezTo>
                    <a:pt x="202" y="41"/>
                    <a:pt x="202" y="41"/>
                    <a:pt x="202" y="41"/>
                  </a:cubicBezTo>
                  <a:cubicBezTo>
                    <a:pt x="198" y="41"/>
                    <a:pt x="195" y="42"/>
                    <a:pt x="192" y="42"/>
                  </a:cubicBezTo>
                  <a:cubicBezTo>
                    <a:pt x="188" y="42"/>
                    <a:pt x="184" y="41"/>
                    <a:pt x="181" y="41"/>
                  </a:cubicBezTo>
                  <a:cubicBezTo>
                    <a:pt x="180" y="41"/>
                    <a:pt x="180" y="41"/>
                    <a:pt x="179" y="41"/>
                  </a:cubicBezTo>
                  <a:cubicBezTo>
                    <a:pt x="177" y="41"/>
                    <a:pt x="176" y="42"/>
                    <a:pt x="176" y="44"/>
                  </a:cubicBezTo>
                  <a:cubicBezTo>
                    <a:pt x="176" y="51"/>
                    <a:pt x="174" y="55"/>
                    <a:pt x="167" y="55"/>
                  </a:cubicBezTo>
                  <a:cubicBezTo>
                    <a:pt x="167" y="55"/>
                    <a:pt x="167" y="55"/>
                    <a:pt x="166" y="55"/>
                  </a:cubicBezTo>
                  <a:cubicBezTo>
                    <a:pt x="158" y="54"/>
                    <a:pt x="149" y="53"/>
                    <a:pt x="140" y="53"/>
                  </a:cubicBezTo>
                  <a:cubicBezTo>
                    <a:pt x="140" y="53"/>
                    <a:pt x="140" y="53"/>
                    <a:pt x="139" y="53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9" y="53"/>
                    <a:pt x="138" y="53"/>
                    <a:pt x="138" y="53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5" y="53"/>
                    <a:pt x="134" y="54"/>
                    <a:pt x="133" y="56"/>
                  </a:cubicBezTo>
                  <a:cubicBezTo>
                    <a:pt x="132" y="59"/>
                    <a:pt x="131" y="61"/>
                    <a:pt x="128" y="61"/>
                  </a:cubicBezTo>
                  <a:cubicBezTo>
                    <a:pt x="127" y="61"/>
                    <a:pt x="127" y="61"/>
                    <a:pt x="126" y="61"/>
                  </a:cubicBezTo>
                  <a:cubicBezTo>
                    <a:pt x="118" y="57"/>
                    <a:pt x="111" y="52"/>
                    <a:pt x="106" y="45"/>
                  </a:cubicBezTo>
                  <a:cubicBezTo>
                    <a:pt x="104" y="43"/>
                    <a:pt x="103" y="41"/>
                    <a:pt x="107" y="40"/>
                  </a:cubicBezTo>
                  <a:cubicBezTo>
                    <a:pt x="109" y="40"/>
                    <a:pt x="111" y="40"/>
                    <a:pt x="111" y="37"/>
                  </a:cubicBezTo>
                  <a:cubicBezTo>
                    <a:pt x="110" y="35"/>
                    <a:pt x="108" y="33"/>
                    <a:pt x="106" y="33"/>
                  </a:cubicBezTo>
                  <a:cubicBezTo>
                    <a:pt x="102" y="33"/>
                    <a:pt x="99" y="32"/>
                    <a:pt x="95" y="32"/>
                  </a:cubicBezTo>
                  <a:cubicBezTo>
                    <a:pt x="91" y="32"/>
                    <a:pt x="86" y="33"/>
                    <a:pt x="82" y="35"/>
                  </a:cubicBezTo>
                  <a:cubicBezTo>
                    <a:pt x="78" y="37"/>
                    <a:pt x="74" y="38"/>
                    <a:pt x="69" y="38"/>
                  </a:cubicBezTo>
                  <a:cubicBezTo>
                    <a:pt x="65" y="38"/>
                    <a:pt x="61" y="37"/>
                    <a:pt x="58" y="35"/>
                  </a:cubicBezTo>
                  <a:cubicBezTo>
                    <a:pt x="53" y="32"/>
                    <a:pt x="49" y="31"/>
                    <a:pt x="44" y="31"/>
                  </a:cubicBezTo>
                  <a:cubicBezTo>
                    <a:pt x="42" y="31"/>
                    <a:pt x="39" y="31"/>
                    <a:pt x="37" y="32"/>
                  </a:cubicBezTo>
                  <a:cubicBezTo>
                    <a:pt x="35" y="33"/>
                    <a:pt x="33" y="33"/>
                    <a:pt x="32" y="33"/>
                  </a:cubicBezTo>
                  <a:cubicBezTo>
                    <a:pt x="28" y="33"/>
                    <a:pt x="26" y="30"/>
                    <a:pt x="25" y="25"/>
                  </a:cubicBezTo>
                  <a:cubicBezTo>
                    <a:pt x="24" y="22"/>
                    <a:pt x="22" y="20"/>
                    <a:pt x="19" y="20"/>
                  </a:cubicBezTo>
                  <a:cubicBezTo>
                    <a:pt x="19" y="20"/>
                    <a:pt x="18" y="20"/>
                    <a:pt x="18" y="20"/>
                  </a:cubicBezTo>
                  <a:cubicBezTo>
                    <a:pt x="17" y="20"/>
                    <a:pt x="16" y="20"/>
                    <a:pt x="15" y="20"/>
                  </a:cubicBezTo>
                  <a:moveTo>
                    <a:pt x="12" y="0"/>
                  </a:moveTo>
                  <a:cubicBezTo>
                    <a:pt x="9" y="0"/>
                    <a:pt x="6" y="1"/>
                    <a:pt x="4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19"/>
                    <a:pt x="18" y="19"/>
                  </a:cubicBezTo>
                  <a:cubicBezTo>
                    <a:pt x="26" y="17"/>
                    <a:pt x="25" y="10"/>
                    <a:pt x="26" y="4"/>
                  </a:cubicBezTo>
                  <a:cubicBezTo>
                    <a:pt x="25" y="4"/>
                    <a:pt x="24" y="4"/>
                    <a:pt x="24" y="4"/>
                  </a:cubicBezTo>
                  <a:cubicBezTo>
                    <a:pt x="23" y="4"/>
                    <a:pt x="22" y="4"/>
                    <a:pt x="22" y="4"/>
                  </a:cubicBezTo>
                  <a:cubicBezTo>
                    <a:pt x="19" y="1"/>
                    <a:pt x="15" y="0"/>
                    <a:pt x="12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2" name="îṣľíďé"/>
            <p:cNvSpPr/>
            <p:nvPr/>
          </p:nvSpPr>
          <p:spPr bwMode="auto">
            <a:xfrm>
              <a:off x="6492875" y="2559844"/>
              <a:ext cx="63500" cy="153988"/>
            </a:xfrm>
            <a:custGeom>
              <a:avLst/>
              <a:gdLst>
                <a:gd name="T0" fmla="*/ 8 w 19"/>
                <a:gd name="T1" fmla="*/ 0 h 47"/>
                <a:gd name="T2" fmla="*/ 6 w 19"/>
                <a:gd name="T3" fmla="*/ 34 h 47"/>
                <a:gd name="T4" fmla="*/ 7 w 19"/>
                <a:gd name="T5" fmla="*/ 41 h 47"/>
                <a:gd name="T6" fmla="*/ 7 w 19"/>
                <a:gd name="T7" fmla="*/ 46 h 47"/>
                <a:gd name="T8" fmla="*/ 10 w 19"/>
                <a:gd name="T9" fmla="*/ 47 h 47"/>
                <a:gd name="T10" fmla="*/ 10 w 19"/>
                <a:gd name="T11" fmla="*/ 46 h 47"/>
                <a:gd name="T12" fmla="*/ 12 w 19"/>
                <a:gd name="T13" fmla="*/ 45 h 47"/>
                <a:gd name="T14" fmla="*/ 15 w 19"/>
                <a:gd name="T15" fmla="*/ 45 h 47"/>
                <a:gd name="T16" fmla="*/ 18 w 19"/>
                <a:gd name="T17" fmla="*/ 46 h 47"/>
                <a:gd name="T18" fmla="*/ 19 w 19"/>
                <a:gd name="T19" fmla="*/ 46 h 47"/>
                <a:gd name="T20" fmla="*/ 10 w 19"/>
                <a:gd name="T21" fmla="*/ 23 h 47"/>
                <a:gd name="T22" fmla="*/ 8 w 19"/>
                <a:gd name="T2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7">
                  <a:moveTo>
                    <a:pt x="8" y="0"/>
                  </a:moveTo>
                  <a:cubicBezTo>
                    <a:pt x="2" y="12"/>
                    <a:pt x="0" y="23"/>
                    <a:pt x="6" y="34"/>
                  </a:cubicBezTo>
                  <a:cubicBezTo>
                    <a:pt x="7" y="36"/>
                    <a:pt x="7" y="39"/>
                    <a:pt x="7" y="41"/>
                  </a:cubicBezTo>
                  <a:cubicBezTo>
                    <a:pt x="7" y="42"/>
                    <a:pt x="7" y="44"/>
                    <a:pt x="7" y="46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1" y="45"/>
                    <a:pt x="11" y="45"/>
                    <a:pt x="12" y="45"/>
                  </a:cubicBezTo>
                  <a:cubicBezTo>
                    <a:pt x="13" y="45"/>
                    <a:pt x="14" y="45"/>
                    <a:pt x="15" y="45"/>
                  </a:cubicBezTo>
                  <a:cubicBezTo>
                    <a:pt x="16" y="46"/>
                    <a:pt x="17" y="46"/>
                    <a:pt x="18" y="46"/>
                  </a:cubicBezTo>
                  <a:cubicBezTo>
                    <a:pt x="18" y="46"/>
                    <a:pt x="19" y="46"/>
                    <a:pt x="19" y="46"/>
                  </a:cubicBezTo>
                  <a:cubicBezTo>
                    <a:pt x="14" y="38"/>
                    <a:pt x="12" y="31"/>
                    <a:pt x="10" y="23"/>
                  </a:cubicBezTo>
                  <a:cubicBezTo>
                    <a:pt x="8" y="16"/>
                    <a:pt x="11" y="8"/>
                    <a:pt x="8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3" name="íṡľiḑè"/>
            <p:cNvSpPr/>
            <p:nvPr/>
          </p:nvSpPr>
          <p:spPr bwMode="auto">
            <a:xfrm>
              <a:off x="6437312" y="1980407"/>
              <a:ext cx="46038" cy="31750"/>
            </a:xfrm>
            <a:custGeom>
              <a:avLst/>
              <a:gdLst>
                <a:gd name="T0" fmla="*/ 3 w 14"/>
                <a:gd name="T1" fmla="*/ 0 h 10"/>
                <a:gd name="T2" fmla="*/ 2 w 14"/>
                <a:gd name="T3" fmla="*/ 1 h 10"/>
                <a:gd name="T4" fmla="*/ 1 w 14"/>
                <a:gd name="T5" fmla="*/ 6 h 10"/>
                <a:gd name="T6" fmla="*/ 6 w 14"/>
                <a:gd name="T7" fmla="*/ 10 h 10"/>
                <a:gd name="T8" fmla="*/ 7 w 14"/>
                <a:gd name="T9" fmla="*/ 10 h 10"/>
                <a:gd name="T10" fmla="*/ 7 w 14"/>
                <a:gd name="T11" fmla="*/ 10 h 10"/>
                <a:gd name="T12" fmla="*/ 9 w 14"/>
                <a:gd name="T13" fmla="*/ 10 h 10"/>
                <a:gd name="T14" fmla="*/ 10 w 14"/>
                <a:gd name="T15" fmla="*/ 10 h 10"/>
                <a:gd name="T16" fmla="*/ 11 w 14"/>
                <a:gd name="T17" fmla="*/ 10 h 10"/>
                <a:gd name="T18" fmla="*/ 12 w 14"/>
                <a:gd name="T19" fmla="*/ 10 h 10"/>
                <a:gd name="T20" fmla="*/ 14 w 14"/>
                <a:gd name="T21" fmla="*/ 8 h 10"/>
                <a:gd name="T22" fmla="*/ 9 w 14"/>
                <a:gd name="T23" fmla="*/ 6 h 10"/>
                <a:gd name="T24" fmla="*/ 6 w 14"/>
                <a:gd name="T25" fmla="*/ 4 h 10"/>
                <a:gd name="T26" fmla="*/ 3 w 14"/>
                <a:gd name="T2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0">
                  <a:moveTo>
                    <a:pt x="3" y="0"/>
                  </a:moveTo>
                  <a:cubicBezTo>
                    <a:pt x="3" y="0"/>
                    <a:pt x="2" y="0"/>
                    <a:pt x="2" y="1"/>
                  </a:cubicBezTo>
                  <a:cubicBezTo>
                    <a:pt x="0" y="1"/>
                    <a:pt x="1" y="4"/>
                    <a:pt x="1" y="6"/>
                  </a:cubicBezTo>
                  <a:cubicBezTo>
                    <a:pt x="2" y="10"/>
                    <a:pt x="3" y="10"/>
                    <a:pt x="6" y="10"/>
                  </a:cubicBezTo>
                  <a:cubicBezTo>
                    <a:pt x="6" y="10"/>
                    <a:pt x="6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9" y="10"/>
                    <a:pt x="9" y="10"/>
                    <a:pt x="10" y="10"/>
                  </a:cubicBezTo>
                  <a:cubicBezTo>
                    <a:pt x="10" y="10"/>
                    <a:pt x="10" y="10"/>
                    <a:pt x="11" y="10"/>
                  </a:cubicBezTo>
                  <a:cubicBezTo>
                    <a:pt x="11" y="10"/>
                    <a:pt x="11" y="10"/>
                    <a:pt x="12" y="10"/>
                  </a:cubicBezTo>
                  <a:cubicBezTo>
                    <a:pt x="13" y="10"/>
                    <a:pt x="14" y="10"/>
                    <a:pt x="14" y="8"/>
                  </a:cubicBezTo>
                  <a:cubicBezTo>
                    <a:pt x="14" y="6"/>
                    <a:pt x="11" y="6"/>
                    <a:pt x="9" y="6"/>
                  </a:cubicBezTo>
                  <a:cubicBezTo>
                    <a:pt x="8" y="5"/>
                    <a:pt x="7" y="4"/>
                    <a:pt x="6" y="4"/>
                  </a:cubicBezTo>
                  <a:cubicBezTo>
                    <a:pt x="5" y="3"/>
                    <a:pt x="4" y="0"/>
                    <a:pt x="3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4" name="îṥ1idé"/>
            <p:cNvSpPr/>
            <p:nvPr/>
          </p:nvSpPr>
          <p:spPr bwMode="auto">
            <a:xfrm>
              <a:off x="6470650" y="1923257"/>
              <a:ext cx="39688" cy="20638"/>
            </a:xfrm>
            <a:custGeom>
              <a:avLst/>
              <a:gdLst>
                <a:gd name="T0" fmla="*/ 0 w 12"/>
                <a:gd name="T1" fmla="*/ 0 h 6"/>
                <a:gd name="T2" fmla="*/ 5 w 12"/>
                <a:gd name="T3" fmla="*/ 6 h 6"/>
                <a:gd name="T4" fmla="*/ 7 w 12"/>
                <a:gd name="T5" fmla="*/ 6 h 6"/>
                <a:gd name="T6" fmla="*/ 11 w 12"/>
                <a:gd name="T7" fmla="*/ 3 h 6"/>
                <a:gd name="T8" fmla="*/ 6 w 12"/>
                <a:gd name="T9" fmla="*/ 0 h 6"/>
                <a:gd name="T10" fmla="*/ 5 w 12"/>
                <a:gd name="T11" fmla="*/ 0 h 6"/>
                <a:gd name="T12" fmla="*/ 3 w 12"/>
                <a:gd name="T13" fmla="*/ 0 h 6"/>
                <a:gd name="T14" fmla="*/ 0 w 1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">
                  <a:moveTo>
                    <a:pt x="0" y="0"/>
                  </a:moveTo>
                  <a:cubicBezTo>
                    <a:pt x="1" y="4"/>
                    <a:pt x="3" y="6"/>
                    <a:pt x="5" y="6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9" y="6"/>
                    <a:pt x="12" y="5"/>
                    <a:pt x="11" y="3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5" name="ï$ľïḑe"/>
            <p:cNvSpPr/>
            <p:nvPr/>
          </p:nvSpPr>
          <p:spPr bwMode="auto">
            <a:xfrm>
              <a:off x="6378575" y="1920082"/>
              <a:ext cx="88900" cy="42863"/>
            </a:xfrm>
            <a:custGeom>
              <a:avLst/>
              <a:gdLst>
                <a:gd name="T0" fmla="*/ 6 w 27"/>
                <a:gd name="T1" fmla="*/ 0 h 13"/>
                <a:gd name="T2" fmla="*/ 2 w 27"/>
                <a:gd name="T3" fmla="*/ 3 h 13"/>
                <a:gd name="T4" fmla="*/ 2 w 27"/>
                <a:gd name="T5" fmla="*/ 10 h 13"/>
                <a:gd name="T6" fmla="*/ 7 w 27"/>
                <a:gd name="T7" fmla="*/ 13 h 13"/>
                <a:gd name="T8" fmla="*/ 10 w 27"/>
                <a:gd name="T9" fmla="*/ 12 h 13"/>
                <a:gd name="T10" fmla="*/ 17 w 27"/>
                <a:gd name="T11" fmla="*/ 10 h 13"/>
                <a:gd name="T12" fmla="*/ 27 w 27"/>
                <a:gd name="T13" fmla="*/ 13 h 13"/>
                <a:gd name="T14" fmla="*/ 24 w 27"/>
                <a:gd name="T15" fmla="*/ 4 h 13"/>
                <a:gd name="T16" fmla="*/ 22 w 27"/>
                <a:gd name="T17" fmla="*/ 2 h 13"/>
                <a:gd name="T18" fmla="*/ 21 w 27"/>
                <a:gd name="T19" fmla="*/ 2 h 13"/>
                <a:gd name="T20" fmla="*/ 17 w 27"/>
                <a:gd name="T21" fmla="*/ 4 h 13"/>
                <a:gd name="T22" fmla="*/ 10 w 27"/>
                <a:gd name="T23" fmla="*/ 1 h 13"/>
                <a:gd name="T24" fmla="*/ 6 w 27"/>
                <a:gd name="T2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3">
                  <a:moveTo>
                    <a:pt x="6" y="0"/>
                  </a:moveTo>
                  <a:cubicBezTo>
                    <a:pt x="4" y="0"/>
                    <a:pt x="3" y="1"/>
                    <a:pt x="2" y="3"/>
                  </a:cubicBezTo>
                  <a:cubicBezTo>
                    <a:pt x="0" y="5"/>
                    <a:pt x="1" y="7"/>
                    <a:pt x="2" y="10"/>
                  </a:cubicBezTo>
                  <a:cubicBezTo>
                    <a:pt x="3" y="12"/>
                    <a:pt x="5" y="13"/>
                    <a:pt x="7" y="13"/>
                  </a:cubicBezTo>
                  <a:cubicBezTo>
                    <a:pt x="8" y="13"/>
                    <a:pt x="9" y="13"/>
                    <a:pt x="10" y="12"/>
                  </a:cubicBezTo>
                  <a:cubicBezTo>
                    <a:pt x="12" y="11"/>
                    <a:pt x="14" y="10"/>
                    <a:pt x="17" y="10"/>
                  </a:cubicBezTo>
                  <a:cubicBezTo>
                    <a:pt x="20" y="10"/>
                    <a:pt x="23" y="11"/>
                    <a:pt x="27" y="13"/>
                  </a:cubicBezTo>
                  <a:cubicBezTo>
                    <a:pt x="26" y="9"/>
                    <a:pt x="24" y="7"/>
                    <a:pt x="24" y="4"/>
                  </a:cubicBezTo>
                  <a:cubicBezTo>
                    <a:pt x="24" y="3"/>
                    <a:pt x="23" y="2"/>
                    <a:pt x="22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0" y="4"/>
                    <a:pt x="18" y="4"/>
                    <a:pt x="17" y="4"/>
                  </a:cubicBezTo>
                  <a:cubicBezTo>
                    <a:pt x="15" y="4"/>
                    <a:pt x="12" y="2"/>
                    <a:pt x="10" y="1"/>
                  </a:cubicBezTo>
                  <a:cubicBezTo>
                    <a:pt x="9" y="1"/>
                    <a:pt x="7" y="0"/>
                    <a:pt x="6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6" name="ïṡľîḍè"/>
            <p:cNvSpPr/>
            <p:nvPr/>
          </p:nvSpPr>
          <p:spPr bwMode="auto">
            <a:xfrm>
              <a:off x="7747000" y="3429794"/>
              <a:ext cx="6350" cy="114300"/>
            </a:xfrm>
            <a:custGeom>
              <a:avLst/>
              <a:gdLst>
                <a:gd name="T0" fmla="*/ 0 w 2"/>
                <a:gd name="T1" fmla="*/ 35 h 35"/>
                <a:gd name="T2" fmla="*/ 0 w 2"/>
                <a:gd name="T3" fmla="*/ 34 h 35"/>
                <a:gd name="T4" fmla="*/ 1 w 2"/>
                <a:gd name="T5" fmla="*/ 32 h 35"/>
                <a:gd name="T6" fmla="*/ 1 w 2"/>
                <a:gd name="T7" fmla="*/ 31 h 35"/>
                <a:gd name="T8" fmla="*/ 1 w 2"/>
                <a:gd name="T9" fmla="*/ 30 h 35"/>
                <a:gd name="T10" fmla="*/ 1 w 2"/>
                <a:gd name="T11" fmla="*/ 29 h 35"/>
                <a:gd name="T12" fmla="*/ 1 w 2"/>
                <a:gd name="T13" fmla="*/ 27 h 35"/>
                <a:gd name="T14" fmla="*/ 1 w 2"/>
                <a:gd name="T15" fmla="*/ 27 h 35"/>
                <a:gd name="T16" fmla="*/ 1 w 2"/>
                <a:gd name="T17" fmla="*/ 26 h 35"/>
                <a:gd name="T18" fmla="*/ 1 w 2"/>
                <a:gd name="T19" fmla="*/ 25 h 35"/>
                <a:gd name="T20" fmla="*/ 1 w 2"/>
                <a:gd name="T21" fmla="*/ 24 h 35"/>
                <a:gd name="T22" fmla="*/ 1 w 2"/>
                <a:gd name="T23" fmla="*/ 23 h 35"/>
                <a:gd name="T24" fmla="*/ 1 w 2"/>
                <a:gd name="T25" fmla="*/ 22 h 35"/>
                <a:gd name="T26" fmla="*/ 1 w 2"/>
                <a:gd name="T27" fmla="*/ 21 h 35"/>
                <a:gd name="T28" fmla="*/ 1 w 2"/>
                <a:gd name="T29" fmla="*/ 20 h 35"/>
                <a:gd name="T30" fmla="*/ 1 w 2"/>
                <a:gd name="T31" fmla="*/ 19 h 35"/>
                <a:gd name="T32" fmla="*/ 1 w 2"/>
                <a:gd name="T33" fmla="*/ 19 h 35"/>
                <a:gd name="T34" fmla="*/ 1 w 2"/>
                <a:gd name="T35" fmla="*/ 18 h 35"/>
                <a:gd name="T36" fmla="*/ 1 w 2"/>
                <a:gd name="T37" fmla="*/ 18 h 35"/>
                <a:gd name="T38" fmla="*/ 1 w 2"/>
                <a:gd name="T39" fmla="*/ 17 h 35"/>
                <a:gd name="T40" fmla="*/ 1 w 2"/>
                <a:gd name="T41" fmla="*/ 16 h 35"/>
                <a:gd name="T42" fmla="*/ 1 w 2"/>
                <a:gd name="T43" fmla="*/ 16 h 35"/>
                <a:gd name="T44" fmla="*/ 1 w 2"/>
                <a:gd name="T45" fmla="*/ 15 h 35"/>
                <a:gd name="T46" fmla="*/ 1 w 2"/>
                <a:gd name="T47" fmla="*/ 15 h 35"/>
                <a:gd name="T48" fmla="*/ 1 w 2"/>
                <a:gd name="T49" fmla="*/ 14 h 35"/>
                <a:gd name="T50" fmla="*/ 1 w 2"/>
                <a:gd name="T51" fmla="*/ 13 h 35"/>
                <a:gd name="T52" fmla="*/ 1 w 2"/>
                <a:gd name="T53" fmla="*/ 11 h 35"/>
                <a:gd name="T54" fmla="*/ 1 w 2"/>
                <a:gd name="T55" fmla="*/ 10 h 35"/>
                <a:gd name="T56" fmla="*/ 1 w 2"/>
                <a:gd name="T57" fmla="*/ 10 h 35"/>
                <a:gd name="T58" fmla="*/ 1 w 2"/>
                <a:gd name="T59" fmla="*/ 9 h 35"/>
                <a:gd name="T60" fmla="*/ 2 w 2"/>
                <a:gd name="T61" fmla="*/ 8 h 35"/>
                <a:gd name="T62" fmla="*/ 2 w 2"/>
                <a:gd name="T63" fmla="*/ 8 h 35"/>
                <a:gd name="T64" fmla="*/ 2 w 2"/>
                <a:gd name="T65" fmla="*/ 7 h 35"/>
                <a:gd name="T66" fmla="*/ 2 w 2"/>
                <a:gd name="T67" fmla="*/ 6 h 35"/>
                <a:gd name="T68" fmla="*/ 2 w 2"/>
                <a:gd name="T69" fmla="*/ 6 h 35"/>
                <a:gd name="T70" fmla="*/ 2 w 2"/>
                <a:gd name="T71" fmla="*/ 5 h 35"/>
                <a:gd name="T72" fmla="*/ 2 w 2"/>
                <a:gd name="T73" fmla="*/ 5 h 35"/>
                <a:gd name="T74" fmla="*/ 2 w 2"/>
                <a:gd name="T75" fmla="*/ 4 h 35"/>
                <a:gd name="T76" fmla="*/ 2 w 2"/>
                <a:gd name="T77" fmla="*/ 3 h 35"/>
                <a:gd name="T78" fmla="*/ 2 w 2"/>
                <a:gd name="T79" fmla="*/ 3 h 35"/>
                <a:gd name="T80" fmla="*/ 2 w 2"/>
                <a:gd name="T81" fmla="*/ 2 h 35"/>
                <a:gd name="T82" fmla="*/ 2 w 2"/>
                <a:gd name="T83" fmla="*/ 2 h 35"/>
                <a:gd name="T84" fmla="*/ 2 w 2"/>
                <a:gd name="T85" fmla="*/ 1 h 35"/>
                <a:gd name="T86" fmla="*/ 2 w 2"/>
                <a:gd name="T8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" h="35">
                  <a:moveTo>
                    <a:pt x="0" y="35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moveTo>
                    <a:pt x="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moveTo>
                    <a:pt x="1" y="32"/>
                  </a:move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moveTo>
                    <a:pt x="1" y="31"/>
                  </a:move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moveTo>
                    <a:pt x="1" y="30"/>
                  </a:move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1" y="30"/>
                    <a:pt x="1" y="30"/>
                  </a:cubicBezTo>
                  <a:moveTo>
                    <a:pt x="1" y="29"/>
                  </a:move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moveTo>
                    <a:pt x="1" y="26"/>
                  </a:move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moveTo>
                    <a:pt x="1" y="25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moveTo>
                    <a:pt x="1" y="24"/>
                  </a:move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moveTo>
                    <a:pt x="1" y="23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moveTo>
                    <a:pt x="1" y="21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moveTo>
                    <a:pt x="1" y="20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moveTo>
                    <a:pt x="1" y="19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moveTo>
                    <a:pt x="1" y="19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moveTo>
                    <a:pt x="1" y="18"/>
                  </a:move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moveTo>
                    <a:pt x="1" y="18"/>
                  </a:move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moveTo>
                    <a:pt x="1" y="17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moveTo>
                    <a:pt x="1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moveTo>
                    <a:pt x="1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moveTo>
                    <a:pt x="1" y="14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moveTo>
                    <a:pt x="1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moveTo>
                    <a:pt x="1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moveTo>
                    <a:pt x="1" y="10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moveTo>
                    <a:pt x="1" y="10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moveTo>
                    <a:pt x="1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moveTo>
                    <a:pt x="2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2" y="8"/>
                  </a:cubicBezTo>
                  <a:moveTo>
                    <a:pt x="2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moveTo>
                    <a:pt x="2" y="6"/>
                  </a:move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6"/>
                    <a:pt x="2" y="6"/>
                  </a:cubicBezTo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D3F2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7" name="íṡļïdé"/>
            <p:cNvSpPr/>
            <p:nvPr/>
          </p:nvSpPr>
          <p:spPr bwMode="auto">
            <a:xfrm>
              <a:off x="5656262" y="3283744"/>
              <a:ext cx="2097088" cy="1798638"/>
            </a:xfrm>
            <a:custGeom>
              <a:avLst/>
              <a:gdLst>
                <a:gd name="T0" fmla="*/ 219 w 636"/>
                <a:gd name="T1" fmla="*/ 184 h 546"/>
                <a:gd name="T2" fmla="*/ 247 w 636"/>
                <a:gd name="T3" fmla="*/ 148 h 546"/>
                <a:gd name="T4" fmla="*/ 238 w 636"/>
                <a:gd name="T5" fmla="*/ 440 h 546"/>
                <a:gd name="T6" fmla="*/ 240 w 636"/>
                <a:gd name="T7" fmla="*/ 457 h 546"/>
                <a:gd name="T8" fmla="*/ 231 w 636"/>
                <a:gd name="T9" fmla="*/ 432 h 546"/>
                <a:gd name="T10" fmla="*/ 230 w 636"/>
                <a:gd name="T11" fmla="*/ 437 h 546"/>
                <a:gd name="T12" fmla="*/ 399 w 636"/>
                <a:gd name="T13" fmla="*/ 404 h 546"/>
                <a:gd name="T14" fmla="*/ 384 w 636"/>
                <a:gd name="T15" fmla="*/ 435 h 546"/>
                <a:gd name="T16" fmla="*/ 363 w 636"/>
                <a:gd name="T17" fmla="*/ 443 h 546"/>
                <a:gd name="T18" fmla="*/ 418 w 636"/>
                <a:gd name="T19" fmla="*/ 382 h 546"/>
                <a:gd name="T20" fmla="*/ 427 w 636"/>
                <a:gd name="T21" fmla="*/ 371 h 546"/>
                <a:gd name="T22" fmla="*/ 434 w 636"/>
                <a:gd name="T23" fmla="*/ 374 h 546"/>
                <a:gd name="T24" fmla="*/ 438 w 636"/>
                <a:gd name="T25" fmla="*/ 375 h 546"/>
                <a:gd name="T26" fmla="*/ 418 w 636"/>
                <a:gd name="T27" fmla="*/ 397 h 546"/>
                <a:gd name="T28" fmla="*/ 366 w 636"/>
                <a:gd name="T29" fmla="*/ 288 h 546"/>
                <a:gd name="T30" fmla="*/ 229 w 636"/>
                <a:gd name="T31" fmla="*/ 284 h 546"/>
                <a:gd name="T32" fmla="*/ 254 w 636"/>
                <a:gd name="T33" fmla="*/ 246 h 546"/>
                <a:gd name="T34" fmla="*/ 283 w 636"/>
                <a:gd name="T35" fmla="*/ 313 h 546"/>
                <a:gd name="T36" fmla="*/ 267 w 636"/>
                <a:gd name="T37" fmla="*/ 401 h 546"/>
                <a:gd name="T38" fmla="*/ 238 w 636"/>
                <a:gd name="T39" fmla="*/ 420 h 546"/>
                <a:gd name="T40" fmla="*/ 216 w 636"/>
                <a:gd name="T41" fmla="*/ 415 h 546"/>
                <a:gd name="T42" fmla="*/ 207 w 636"/>
                <a:gd name="T43" fmla="*/ 389 h 546"/>
                <a:gd name="T44" fmla="*/ 195 w 636"/>
                <a:gd name="T45" fmla="*/ 397 h 546"/>
                <a:gd name="T46" fmla="*/ 161 w 636"/>
                <a:gd name="T47" fmla="*/ 380 h 546"/>
                <a:gd name="T48" fmla="*/ 104 w 636"/>
                <a:gd name="T49" fmla="*/ 404 h 546"/>
                <a:gd name="T50" fmla="*/ 80 w 636"/>
                <a:gd name="T51" fmla="*/ 340 h 546"/>
                <a:gd name="T52" fmla="*/ 85 w 636"/>
                <a:gd name="T53" fmla="*/ 343 h 546"/>
                <a:gd name="T54" fmla="*/ 128 w 636"/>
                <a:gd name="T55" fmla="*/ 292 h 546"/>
                <a:gd name="T56" fmla="*/ 140 w 636"/>
                <a:gd name="T57" fmla="*/ 275 h 546"/>
                <a:gd name="T58" fmla="*/ 163 w 636"/>
                <a:gd name="T59" fmla="*/ 267 h 546"/>
                <a:gd name="T60" fmla="*/ 183 w 636"/>
                <a:gd name="T61" fmla="*/ 249 h 546"/>
                <a:gd name="T62" fmla="*/ 211 w 636"/>
                <a:gd name="T63" fmla="*/ 244 h 546"/>
                <a:gd name="T64" fmla="*/ 227 w 636"/>
                <a:gd name="T65" fmla="*/ 283 h 546"/>
                <a:gd name="T66" fmla="*/ 185 w 636"/>
                <a:gd name="T67" fmla="*/ 215 h 546"/>
                <a:gd name="T68" fmla="*/ 185 w 636"/>
                <a:gd name="T69" fmla="*/ 221 h 546"/>
                <a:gd name="T70" fmla="*/ 241 w 636"/>
                <a:gd name="T71" fmla="*/ 240 h 546"/>
                <a:gd name="T72" fmla="*/ 223 w 636"/>
                <a:gd name="T73" fmla="*/ 218 h 546"/>
                <a:gd name="T74" fmla="*/ 58 w 636"/>
                <a:gd name="T75" fmla="*/ 453 h 546"/>
                <a:gd name="T76" fmla="*/ 319 w 636"/>
                <a:gd name="T77" fmla="*/ 511 h 546"/>
                <a:gd name="T78" fmla="*/ 634 w 636"/>
                <a:gd name="T79" fmla="*/ 78 h 546"/>
                <a:gd name="T80" fmla="*/ 635 w 636"/>
                <a:gd name="T81" fmla="*/ 75 h 546"/>
                <a:gd name="T82" fmla="*/ 635 w 636"/>
                <a:gd name="T83" fmla="*/ 73 h 546"/>
                <a:gd name="T84" fmla="*/ 635 w 636"/>
                <a:gd name="T85" fmla="*/ 71 h 546"/>
                <a:gd name="T86" fmla="*/ 635 w 636"/>
                <a:gd name="T87" fmla="*/ 69 h 546"/>
                <a:gd name="T88" fmla="*/ 635 w 636"/>
                <a:gd name="T89" fmla="*/ 67 h 546"/>
                <a:gd name="T90" fmla="*/ 635 w 636"/>
                <a:gd name="T91" fmla="*/ 65 h 546"/>
                <a:gd name="T92" fmla="*/ 635 w 636"/>
                <a:gd name="T93" fmla="*/ 63 h 546"/>
                <a:gd name="T94" fmla="*/ 635 w 636"/>
                <a:gd name="T95" fmla="*/ 62 h 546"/>
                <a:gd name="T96" fmla="*/ 635 w 636"/>
                <a:gd name="T97" fmla="*/ 61 h 546"/>
                <a:gd name="T98" fmla="*/ 635 w 636"/>
                <a:gd name="T99" fmla="*/ 60 h 546"/>
                <a:gd name="T100" fmla="*/ 635 w 636"/>
                <a:gd name="T101" fmla="*/ 59 h 546"/>
                <a:gd name="T102" fmla="*/ 635 w 636"/>
                <a:gd name="T103" fmla="*/ 57 h 546"/>
                <a:gd name="T104" fmla="*/ 635 w 636"/>
                <a:gd name="T105" fmla="*/ 54 h 546"/>
                <a:gd name="T106" fmla="*/ 635 w 636"/>
                <a:gd name="T107" fmla="*/ 53 h 546"/>
                <a:gd name="T108" fmla="*/ 636 w 636"/>
                <a:gd name="T109" fmla="*/ 52 h 546"/>
                <a:gd name="T110" fmla="*/ 636 w 636"/>
                <a:gd name="T111" fmla="*/ 50 h 546"/>
                <a:gd name="T112" fmla="*/ 636 w 636"/>
                <a:gd name="T113" fmla="*/ 49 h 546"/>
                <a:gd name="T114" fmla="*/ 636 w 636"/>
                <a:gd name="T115" fmla="*/ 48 h 546"/>
                <a:gd name="T116" fmla="*/ 636 w 636"/>
                <a:gd name="T117" fmla="*/ 47 h 546"/>
                <a:gd name="T118" fmla="*/ 636 w 636"/>
                <a:gd name="T119" fmla="*/ 46 h 546"/>
                <a:gd name="T120" fmla="*/ 636 w 636"/>
                <a:gd name="T121" fmla="*/ 44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36" h="546">
                  <a:moveTo>
                    <a:pt x="247" y="148"/>
                  </a:moveTo>
                  <a:cubicBezTo>
                    <a:pt x="208" y="186"/>
                    <a:pt x="208" y="186"/>
                    <a:pt x="208" y="186"/>
                  </a:cubicBezTo>
                  <a:cubicBezTo>
                    <a:pt x="209" y="187"/>
                    <a:pt x="211" y="188"/>
                    <a:pt x="212" y="188"/>
                  </a:cubicBezTo>
                  <a:cubicBezTo>
                    <a:pt x="215" y="188"/>
                    <a:pt x="217" y="187"/>
                    <a:pt x="219" y="184"/>
                  </a:cubicBezTo>
                  <a:cubicBezTo>
                    <a:pt x="222" y="182"/>
                    <a:pt x="224" y="181"/>
                    <a:pt x="227" y="181"/>
                  </a:cubicBezTo>
                  <a:cubicBezTo>
                    <a:pt x="228" y="181"/>
                    <a:pt x="230" y="181"/>
                    <a:pt x="232" y="182"/>
                  </a:cubicBezTo>
                  <a:cubicBezTo>
                    <a:pt x="236" y="183"/>
                    <a:pt x="241" y="184"/>
                    <a:pt x="245" y="186"/>
                  </a:cubicBezTo>
                  <a:cubicBezTo>
                    <a:pt x="247" y="148"/>
                    <a:pt x="247" y="148"/>
                    <a:pt x="247" y="148"/>
                  </a:cubicBezTo>
                  <a:moveTo>
                    <a:pt x="239" y="457"/>
                  </a:moveTo>
                  <a:cubicBezTo>
                    <a:pt x="237" y="457"/>
                    <a:pt x="235" y="456"/>
                    <a:pt x="234" y="454"/>
                  </a:cubicBezTo>
                  <a:cubicBezTo>
                    <a:pt x="234" y="451"/>
                    <a:pt x="234" y="447"/>
                    <a:pt x="233" y="444"/>
                  </a:cubicBezTo>
                  <a:cubicBezTo>
                    <a:pt x="233" y="440"/>
                    <a:pt x="236" y="441"/>
                    <a:pt x="238" y="440"/>
                  </a:cubicBezTo>
                  <a:cubicBezTo>
                    <a:pt x="241" y="440"/>
                    <a:pt x="243" y="441"/>
                    <a:pt x="246" y="441"/>
                  </a:cubicBezTo>
                  <a:cubicBezTo>
                    <a:pt x="247" y="441"/>
                    <a:pt x="248" y="441"/>
                    <a:pt x="248" y="442"/>
                  </a:cubicBezTo>
                  <a:cubicBezTo>
                    <a:pt x="250" y="445"/>
                    <a:pt x="247" y="448"/>
                    <a:pt x="246" y="451"/>
                  </a:cubicBezTo>
                  <a:cubicBezTo>
                    <a:pt x="244" y="454"/>
                    <a:pt x="243" y="456"/>
                    <a:pt x="240" y="457"/>
                  </a:cubicBezTo>
                  <a:cubicBezTo>
                    <a:pt x="240" y="457"/>
                    <a:pt x="239" y="457"/>
                    <a:pt x="239" y="457"/>
                  </a:cubicBezTo>
                  <a:moveTo>
                    <a:pt x="230" y="437"/>
                  </a:moveTo>
                  <a:cubicBezTo>
                    <a:pt x="229" y="437"/>
                    <a:pt x="228" y="436"/>
                    <a:pt x="229" y="435"/>
                  </a:cubicBezTo>
                  <a:cubicBezTo>
                    <a:pt x="229" y="434"/>
                    <a:pt x="230" y="433"/>
                    <a:pt x="231" y="432"/>
                  </a:cubicBezTo>
                  <a:cubicBezTo>
                    <a:pt x="231" y="432"/>
                    <a:pt x="231" y="432"/>
                    <a:pt x="231" y="432"/>
                  </a:cubicBezTo>
                  <a:cubicBezTo>
                    <a:pt x="232" y="432"/>
                    <a:pt x="233" y="433"/>
                    <a:pt x="233" y="434"/>
                  </a:cubicBezTo>
                  <a:cubicBezTo>
                    <a:pt x="232" y="436"/>
                    <a:pt x="231" y="436"/>
                    <a:pt x="230" y="437"/>
                  </a:cubicBezTo>
                  <a:cubicBezTo>
                    <a:pt x="230" y="437"/>
                    <a:pt x="230" y="437"/>
                    <a:pt x="230" y="437"/>
                  </a:cubicBezTo>
                  <a:moveTo>
                    <a:pt x="363" y="443"/>
                  </a:moveTo>
                  <a:cubicBezTo>
                    <a:pt x="370" y="434"/>
                    <a:pt x="377" y="427"/>
                    <a:pt x="385" y="420"/>
                  </a:cubicBezTo>
                  <a:cubicBezTo>
                    <a:pt x="389" y="416"/>
                    <a:pt x="394" y="412"/>
                    <a:pt x="397" y="407"/>
                  </a:cubicBezTo>
                  <a:cubicBezTo>
                    <a:pt x="397" y="406"/>
                    <a:pt x="398" y="405"/>
                    <a:pt x="399" y="404"/>
                  </a:cubicBezTo>
                  <a:cubicBezTo>
                    <a:pt x="402" y="402"/>
                    <a:pt x="404" y="399"/>
                    <a:pt x="406" y="399"/>
                  </a:cubicBezTo>
                  <a:cubicBezTo>
                    <a:pt x="407" y="399"/>
                    <a:pt x="407" y="400"/>
                    <a:pt x="408" y="401"/>
                  </a:cubicBezTo>
                  <a:cubicBezTo>
                    <a:pt x="409" y="403"/>
                    <a:pt x="406" y="406"/>
                    <a:pt x="404" y="410"/>
                  </a:cubicBezTo>
                  <a:cubicBezTo>
                    <a:pt x="397" y="418"/>
                    <a:pt x="388" y="425"/>
                    <a:pt x="384" y="435"/>
                  </a:cubicBezTo>
                  <a:cubicBezTo>
                    <a:pt x="381" y="441"/>
                    <a:pt x="377" y="444"/>
                    <a:pt x="373" y="444"/>
                  </a:cubicBezTo>
                  <a:cubicBezTo>
                    <a:pt x="372" y="444"/>
                    <a:pt x="371" y="444"/>
                    <a:pt x="370" y="444"/>
                  </a:cubicBezTo>
                  <a:cubicBezTo>
                    <a:pt x="369" y="443"/>
                    <a:pt x="368" y="443"/>
                    <a:pt x="366" y="443"/>
                  </a:cubicBezTo>
                  <a:cubicBezTo>
                    <a:pt x="365" y="443"/>
                    <a:pt x="364" y="443"/>
                    <a:pt x="363" y="443"/>
                  </a:cubicBezTo>
                  <a:moveTo>
                    <a:pt x="418" y="397"/>
                  </a:moveTo>
                  <a:cubicBezTo>
                    <a:pt x="417" y="397"/>
                    <a:pt x="418" y="395"/>
                    <a:pt x="418" y="394"/>
                  </a:cubicBezTo>
                  <a:cubicBezTo>
                    <a:pt x="419" y="392"/>
                    <a:pt x="418" y="390"/>
                    <a:pt x="417" y="390"/>
                  </a:cubicBezTo>
                  <a:cubicBezTo>
                    <a:pt x="413" y="388"/>
                    <a:pt x="414" y="386"/>
                    <a:pt x="418" y="382"/>
                  </a:cubicBezTo>
                  <a:cubicBezTo>
                    <a:pt x="423" y="376"/>
                    <a:pt x="423" y="370"/>
                    <a:pt x="422" y="366"/>
                  </a:cubicBezTo>
                  <a:cubicBezTo>
                    <a:pt x="421" y="363"/>
                    <a:pt x="420" y="360"/>
                    <a:pt x="419" y="356"/>
                  </a:cubicBezTo>
                  <a:cubicBezTo>
                    <a:pt x="424" y="358"/>
                    <a:pt x="424" y="363"/>
                    <a:pt x="425" y="367"/>
                  </a:cubicBezTo>
                  <a:cubicBezTo>
                    <a:pt x="425" y="369"/>
                    <a:pt x="425" y="371"/>
                    <a:pt x="427" y="371"/>
                  </a:cubicBezTo>
                  <a:cubicBezTo>
                    <a:pt x="427" y="371"/>
                    <a:pt x="428" y="370"/>
                    <a:pt x="429" y="369"/>
                  </a:cubicBezTo>
                  <a:cubicBezTo>
                    <a:pt x="430" y="369"/>
                    <a:pt x="431" y="369"/>
                    <a:pt x="431" y="369"/>
                  </a:cubicBezTo>
                  <a:cubicBezTo>
                    <a:pt x="432" y="369"/>
                    <a:pt x="432" y="370"/>
                    <a:pt x="432" y="371"/>
                  </a:cubicBezTo>
                  <a:cubicBezTo>
                    <a:pt x="432" y="372"/>
                    <a:pt x="433" y="373"/>
                    <a:pt x="434" y="374"/>
                  </a:cubicBezTo>
                  <a:cubicBezTo>
                    <a:pt x="434" y="374"/>
                    <a:pt x="434" y="374"/>
                    <a:pt x="434" y="374"/>
                  </a:cubicBezTo>
                  <a:cubicBezTo>
                    <a:pt x="435" y="374"/>
                    <a:pt x="435" y="374"/>
                    <a:pt x="436" y="373"/>
                  </a:cubicBezTo>
                  <a:cubicBezTo>
                    <a:pt x="436" y="373"/>
                    <a:pt x="437" y="373"/>
                    <a:pt x="437" y="373"/>
                  </a:cubicBezTo>
                  <a:cubicBezTo>
                    <a:pt x="438" y="373"/>
                    <a:pt x="438" y="373"/>
                    <a:pt x="438" y="375"/>
                  </a:cubicBezTo>
                  <a:cubicBezTo>
                    <a:pt x="437" y="377"/>
                    <a:pt x="435" y="381"/>
                    <a:pt x="433" y="382"/>
                  </a:cubicBezTo>
                  <a:cubicBezTo>
                    <a:pt x="427" y="385"/>
                    <a:pt x="425" y="389"/>
                    <a:pt x="422" y="394"/>
                  </a:cubicBezTo>
                  <a:cubicBezTo>
                    <a:pt x="421" y="395"/>
                    <a:pt x="420" y="397"/>
                    <a:pt x="418" y="397"/>
                  </a:cubicBezTo>
                  <a:cubicBezTo>
                    <a:pt x="418" y="397"/>
                    <a:pt x="418" y="397"/>
                    <a:pt x="418" y="397"/>
                  </a:cubicBezTo>
                  <a:moveTo>
                    <a:pt x="371" y="297"/>
                  </a:moveTo>
                  <a:cubicBezTo>
                    <a:pt x="371" y="297"/>
                    <a:pt x="371" y="297"/>
                    <a:pt x="371" y="297"/>
                  </a:cubicBezTo>
                  <a:cubicBezTo>
                    <a:pt x="367" y="296"/>
                    <a:pt x="363" y="295"/>
                    <a:pt x="363" y="291"/>
                  </a:cubicBezTo>
                  <a:cubicBezTo>
                    <a:pt x="363" y="289"/>
                    <a:pt x="365" y="288"/>
                    <a:pt x="366" y="288"/>
                  </a:cubicBezTo>
                  <a:cubicBezTo>
                    <a:pt x="367" y="288"/>
                    <a:pt x="367" y="288"/>
                    <a:pt x="367" y="288"/>
                  </a:cubicBezTo>
                  <a:cubicBezTo>
                    <a:pt x="371" y="288"/>
                    <a:pt x="374" y="290"/>
                    <a:pt x="375" y="293"/>
                  </a:cubicBezTo>
                  <a:cubicBezTo>
                    <a:pt x="374" y="295"/>
                    <a:pt x="373" y="297"/>
                    <a:pt x="371" y="297"/>
                  </a:cubicBezTo>
                  <a:moveTo>
                    <a:pt x="229" y="284"/>
                  </a:moveTo>
                  <a:cubicBezTo>
                    <a:pt x="231" y="284"/>
                    <a:pt x="232" y="283"/>
                    <a:pt x="233" y="281"/>
                  </a:cubicBezTo>
                  <a:cubicBezTo>
                    <a:pt x="238" y="273"/>
                    <a:pt x="242" y="264"/>
                    <a:pt x="244" y="255"/>
                  </a:cubicBezTo>
                  <a:cubicBezTo>
                    <a:pt x="245" y="249"/>
                    <a:pt x="247" y="243"/>
                    <a:pt x="251" y="238"/>
                  </a:cubicBezTo>
                  <a:cubicBezTo>
                    <a:pt x="254" y="240"/>
                    <a:pt x="254" y="243"/>
                    <a:pt x="254" y="246"/>
                  </a:cubicBezTo>
                  <a:cubicBezTo>
                    <a:pt x="255" y="250"/>
                    <a:pt x="256" y="253"/>
                    <a:pt x="258" y="256"/>
                  </a:cubicBezTo>
                  <a:cubicBezTo>
                    <a:pt x="263" y="261"/>
                    <a:pt x="262" y="267"/>
                    <a:pt x="263" y="274"/>
                  </a:cubicBezTo>
                  <a:cubicBezTo>
                    <a:pt x="263" y="283"/>
                    <a:pt x="265" y="291"/>
                    <a:pt x="273" y="297"/>
                  </a:cubicBezTo>
                  <a:cubicBezTo>
                    <a:pt x="278" y="300"/>
                    <a:pt x="280" y="307"/>
                    <a:pt x="283" y="313"/>
                  </a:cubicBezTo>
                  <a:cubicBezTo>
                    <a:pt x="285" y="317"/>
                    <a:pt x="288" y="320"/>
                    <a:pt x="292" y="322"/>
                  </a:cubicBezTo>
                  <a:cubicBezTo>
                    <a:pt x="296" y="323"/>
                    <a:pt x="297" y="326"/>
                    <a:pt x="296" y="330"/>
                  </a:cubicBezTo>
                  <a:cubicBezTo>
                    <a:pt x="291" y="350"/>
                    <a:pt x="285" y="369"/>
                    <a:pt x="273" y="388"/>
                  </a:cubicBezTo>
                  <a:cubicBezTo>
                    <a:pt x="271" y="392"/>
                    <a:pt x="269" y="397"/>
                    <a:pt x="267" y="401"/>
                  </a:cubicBezTo>
                  <a:cubicBezTo>
                    <a:pt x="264" y="407"/>
                    <a:pt x="262" y="415"/>
                    <a:pt x="253" y="416"/>
                  </a:cubicBezTo>
                  <a:cubicBezTo>
                    <a:pt x="253" y="416"/>
                    <a:pt x="252" y="417"/>
                    <a:pt x="251" y="418"/>
                  </a:cubicBezTo>
                  <a:cubicBezTo>
                    <a:pt x="248" y="421"/>
                    <a:pt x="245" y="424"/>
                    <a:pt x="242" y="424"/>
                  </a:cubicBezTo>
                  <a:cubicBezTo>
                    <a:pt x="241" y="424"/>
                    <a:pt x="239" y="423"/>
                    <a:pt x="238" y="420"/>
                  </a:cubicBezTo>
                  <a:cubicBezTo>
                    <a:pt x="237" y="420"/>
                    <a:pt x="237" y="419"/>
                    <a:pt x="236" y="419"/>
                  </a:cubicBezTo>
                  <a:cubicBezTo>
                    <a:pt x="235" y="419"/>
                    <a:pt x="234" y="420"/>
                    <a:pt x="232" y="421"/>
                  </a:cubicBezTo>
                  <a:cubicBezTo>
                    <a:pt x="229" y="423"/>
                    <a:pt x="226" y="423"/>
                    <a:pt x="224" y="423"/>
                  </a:cubicBezTo>
                  <a:cubicBezTo>
                    <a:pt x="220" y="423"/>
                    <a:pt x="217" y="421"/>
                    <a:pt x="216" y="415"/>
                  </a:cubicBezTo>
                  <a:cubicBezTo>
                    <a:pt x="214" y="410"/>
                    <a:pt x="210" y="406"/>
                    <a:pt x="210" y="399"/>
                  </a:cubicBezTo>
                  <a:cubicBezTo>
                    <a:pt x="210" y="397"/>
                    <a:pt x="209" y="397"/>
                    <a:pt x="209" y="397"/>
                  </a:cubicBezTo>
                  <a:cubicBezTo>
                    <a:pt x="207" y="397"/>
                    <a:pt x="205" y="399"/>
                    <a:pt x="203" y="399"/>
                  </a:cubicBezTo>
                  <a:cubicBezTo>
                    <a:pt x="205" y="396"/>
                    <a:pt x="206" y="393"/>
                    <a:pt x="207" y="389"/>
                  </a:cubicBezTo>
                  <a:cubicBezTo>
                    <a:pt x="208" y="387"/>
                    <a:pt x="209" y="385"/>
                    <a:pt x="207" y="384"/>
                  </a:cubicBezTo>
                  <a:cubicBezTo>
                    <a:pt x="206" y="384"/>
                    <a:pt x="206" y="384"/>
                    <a:pt x="206" y="384"/>
                  </a:cubicBezTo>
                  <a:cubicBezTo>
                    <a:pt x="204" y="384"/>
                    <a:pt x="203" y="386"/>
                    <a:pt x="202" y="387"/>
                  </a:cubicBezTo>
                  <a:cubicBezTo>
                    <a:pt x="200" y="390"/>
                    <a:pt x="199" y="397"/>
                    <a:pt x="195" y="397"/>
                  </a:cubicBezTo>
                  <a:cubicBezTo>
                    <a:pt x="195" y="397"/>
                    <a:pt x="195" y="397"/>
                    <a:pt x="195" y="397"/>
                  </a:cubicBezTo>
                  <a:cubicBezTo>
                    <a:pt x="191" y="397"/>
                    <a:pt x="192" y="391"/>
                    <a:pt x="189" y="388"/>
                  </a:cubicBezTo>
                  <a:cubicBezTo>
                    <a:pt x="184" y="382"/>
                    <a:pt x="178" y="378"/>
                    <a:pt x="170" y="378"/>
                  </a:cubicBezTo>
                  <a:cubicBezTo>
                    <a:pt x="167" y="378"/>
                    <a:pt x="164" y="379"/>
                    <a:pt x="161" y="380"/>
                  </a:cubicBezTo>
                  <a:cubicBezTo>
                    <a:pt x="156" y="381"/>
                    <a:pt x="151" y="380"/>
                    <a:pt x="147" y="383"/>
                  </a:cubicBezTo>
                  <a:cubicBezTo>
                    <a:pt x="137" y="391"/>
                    <a:pt x="126" y="393"/>
                    <a:pt x="115" y="398"/>
                  </a:cubicBezTo>
                  <a:cubicBezTo>
                    <a:pt x="113" y="399"/>
                    <a:pt x="111" y="401"/>
                    <a:pt x="109" y="402"/>
                  </a:cubicBezTo>
                  <a:cubicBezTo>
                    <a:pt x="107" y="403"/>
                    <a:pt x="105" y="404"/>
                    <a:pt x="104" y="404"/>
                  </a:cubicBezTo>
                  <a:cubicBezTo>
                    <a:pt x="102" y="404"/>
                    <a:pt x="100" y="403"/>
                    <a:pt x="98" y="402"/>
                  </a:cubicBezTo>
                  <a:cubicBezTo>
                    <a:pt x="94" y="400"/>
                    <a:pt x="94" y="397"/>
                    <a:pt x="93" y="393"/>
                  </a:cubicBezTo>
                  <a:cubicBezTo>
                    <a:pt x="93" y="376"/>
                    <a:pt x="90" y="361"/>
                    <a:pt x="82" y="347"/>
                  </a:cubicBezTo>
                  <a:cubicBezTo>
                    <a:pt x="81" y="345"/>
                    <a:pt x="79" y="342"/>
                    <a:pt x="80" y="340"/>
                  </a:cubicBezTo>
                  <a:cubicBezTo>
                    <a:pt x="80" y="340"/>
                    <a:pt x="80" y="340"/>
                    <a:pt x="81" y="340"/>
                  </a:cubicBezTo>
                  <a:cubicBezTo>
                    <a:pt x="81" y="340"/>
                    <a:pt x="81" y="340"/>
                    <a:pt x="81" y="340"/>
                  </a:cubicBezTo>
                  <a:cubicBezTo>
                    <a:pt x="83" y="340"/>
                    <a:pt x="83" y="343"/>
                    <a:pt x="84" y="343"/>
                  </a:cubicBezTo>
                  <a:cubicBezTo>
                    <a:pt x="85" y="343"/>
                    <a:pt x="85" y="343"/>
                    <a:pt x="85" y="343"/>
                  </a:cubicBezTo>
                  <a:cubicBezTo>
                    <a:pt x="89" y="341"/>
                    <a:pt x="87" y="337"/>
                    <a:pt x="85" y="334"/>
                  </a:cubicBezTo>
                  <a:cubicBezTo>
                    <a:pt x="80" y="325"/>
                    <a:pt x="80" y="320"/>
                    <a:pt x="86" y="316"/>
                  </a:cubicBezTo>
                  <a:cubicBezTo>
                    <a:pt x="94" y="311"/>
                    <a:pt x="103" y="305"/>
                    <a:pt x="113" y="302"/>
                  </a:cubicBezTo>
                  <a:cubicBezTo>
                    <a:pt x="119" y="300"/>
                    <a:pt x="123" y="296"/>
                    <a:pt x="128" y="292"/>
                  </a:cubicBezTo>
                  <a:cubicBezTo>
                    <a:pt x="132" y="288"/>
                    <a:pt x="130" y="283"/>
                    <a:pt x="132" y="278"/>
                  </a:cubicBezTo>
                  <a:cubicBezTo>
                    <a:pt x="134" y="279"/>
                    <a:pt x="135" y="282"/>
                    <a:pt x="137" y="282"/>
                  </a:cubicBezTo>
                  <a:cubicBezTo>
                    <a:pt x="137" y="282"/>
                    <a:pt x="138" y="282"/>
                    <a:pt x="138" y="282"/>
                  </a:cubicBezTo>
                  <a:cubicBezTo>
                    <a:pt x="141" y="281"/>
                    <a:pt x="140" y="278"/>
                    <a:pt x="140" y="275"/>
                  </a:cubicBezTo>
                  <a:cubicBezTo>
                    <a:pt x="140" y="273"/>
                    <a:pt x="141" y="272"/>
                    <a:pt x="143" y="271"/>
                  </a:cubicBezTo>
                  <a:cubicBezTo>
                    <a:pt x="147" y="269"/>
                    <a:pt x="149" y="264"/>
                    <a:pt x="152" y="262"/>
                  </a:cubicBezTo>
                  <a:cubicBezTo>
                    <a:pt x="153" y="262"/>
                    <a:pt x="153" y="262"/>
                    <a:pt x="154" y="262"/>
                  </a:cubicBezTo>
                  <a:cubicBezTo>
                    <a:pt x="157" y="262"/>
                    <a:pt x="159" y="267"/>
                    <a:pt x="163" y="267"/>
                  </a:cubicBezTo>
                  <a:cubicBezTo>
                    <a:pt x="165" y="268"/>
                    <a:pt x="168" y="268"/>
                    <a:pt x="170" y="268"/>
                  </a:cubicBezTo>
                  <a:cubicBezTo>
                    <a:pt x="171" y="268"/>
                    <a:pt x="171" y="268"/>
                    <a:pt x="171" y="268"/>
                  </a:cubicBezTo>
                  <a:cubicBezTo>
                    <a:pt x="175" y="268"/>
                    <a:pt x="177" y="268"/>
                    <a:pt x="176" y="263"/>
                  </a:cubicBezTo>
                  <a:cubicBezTo>
                    <a:pt x="175" y="257"/>
                    <a:pt x="180" y="254"/>
                    <a:pt x="183" y="249"/>
                  </a:cubicBezTo>
                  <a:cubicBezTo>
                    <a:pt x="185" y="247"/>
                    <a:pt x="188" y="245"/>
                    <a:pt x="189" y="242"/>
                  </a:cubicBezTo>
                  <a:cubicBezTo>
                    <a:pt x="190" y="241"/>
                    <a:pt x="191" y="240"/>
                    <a:pt x="191" y="240"/>
                  </a:cubicBezTo>
                  <a:cubicBezTo>
                    <a:pt x="192" y="240"/>
                    <a:pt x="192" y="240"/>
                    <a:pt x="192" y="240"/>
                  </a:cubicBezTo>
                  <a:cubicBezTo>
                    <a:pt x="198" y="242"/>
                    <a:pt x="205" y="241"/>
                    <a:pt x="211" y="244"/>
                  </a:cubicBezTo>
                  <a:cubicBezTo>
                    <a:pt x="214" y="246"/>
                    <a:pt x="214" y="248"/>
                    <a:pt x="212" y="250"/>
                  </a:cubicBezTo>
                  <a:cubicBezTo>
                    <a:pt x="210" y="253"/>
                    <a:pt x="209" y="256"/>
                    <a:pt x="208" y="259"/>
                  </a:cubicBezTo>
                  <a:cubicBezTo>
                    <a:pt x="206" y="264"/>
                    <a:pt x="206" y="269"/>
                    <a:pt x="211" y="272"/>
                  </a:cubicBezTo>
                  <a:cubicBezTo>
                    <a:pt x="217" y="275"/>
                    <a:pt x="222" y="279"/>
                    <a:pt x="227" y="283"/>
                  </a:cubicBezTo>
                  <a:cubicBezTo>
                    <a:pt x="228" y="284"/>
                    <a:pt x="229" y="284"/>
                    <a:pt x="229" y="284"/>
                  </a:cubicBezTo>
                  <a:moveTo>
                    <a:pt x="185" y="221"/>
                  </a:moveTo>
                  <a:cubicBezTo>
                    <a:pt x="183" y="221"/>
                    <a:pt x="182" y="220"/>
                    <a:pt x="182" y="218"/>
                  </a:cubicBezTo>
                  <a:cubicBezTo>
                    <a:pt x="182" y="217"/>
                    <a:pt x="183" y="216"/>
                    <a:pt x="185" y="215"/>
                  </a:cubicBezTo>
                  <a:cubicBezTo>
                    <a:pt x="185" y="215"/>
                    <a:pt x="185" y="215"/>
                    <a:pt x="186" y="215"/>
                  </a:cubicBezTo>
                  <a:cubicBezTo>
                    <a:pt x="187" y="215"/>
                    <a:pt x="189" y="216"/>
                    <a:pt x="189" y="218"/>
                  </a:cubicBezTo>
                  <a:cubicBezTo>
                    <a:pt x="188" y="220"/>
                    <a:pt x="187" y="221"/>
                    <a:pt x="185" y="221"/>
                  </a:cubicBezTo>
                  <a:cubicBezTo>
                    <a:pt x="185" y="221"/>
                    <a:pt x="185" y="221"/>
                    <a:pt x="185" y="221"/>
                  </a:cubicBezTo>
                  <a:moveTo>
                    <a:pt x="634" y="0"/>
                  </a:moveTo>
                  <a:cubicBezTo>
                    <a:pt x="628" y="66"/>
                    <a:pt x="610" y="128"/>
                    <a:pt x="581" y="184"/>
                  </a:cubicBezTo>
                  <a:cubicBezTo>
                    <a:pt x="563" y="187"/>
                    <a:pt x="563" y="187"/>
                    <a:pt x="563" y="187"/>
                  </a:cubicBezTo>
                  <a:cubicBezTo>
                    <a:pt x="241" y="240"/>
                    <a:pt x="241" y="240"/>
                    <a:pt x="241" y="240"/>
                  </a:cubicBezTo>
                  <a:cubicBezTo>
                    <a:pt x="243" y="221"/>
                    <a:pt x="243" y="221"/>
                    <a:pt x="243" y="221"/>
                  </a:cubicBezTo>
                  <a:cubicBezTo>
                    <a:pt x="240" y="220"/>
                    <a:pt x="237" y="219"/>
                    <a:pt x="233" y="218"/>
                  </a:cubicBezTo>
                  <a:cubicBezTo>
                    <a:pt x="232" y="218"/>
                    <a:pt x="230" y="217"/>
                    <a:pt x="228" y="217"/>
                  </a:cubicBezTo>
                  <a:cubicBezTo>
                    <a:pt x="227" y="217"/>
                    <a:pt x="225" y="217"/>
                    <a:pt x="223" y="218"/>
                  </a:cubicBezTo>
                  <a:cubicBezTo>
                    <a:pt x="232" y="208"/>
                    <a:pt x="232" y="204"/>
                    <a:pt x="222" y="198"/>
                  </a:cubicBezTo>
                  <a:cubicBezTo>
                    <a:pt x="217" y="195"/>
                    <a:pt x="211" y="190"/>
                    <a:pt x="204" y="190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58" y="453"/>
                    <a:pt x="58" y="453"/>
                    <a:pt x="58" y="453"/>
                  </a:cubicBezTo>
                  <a:cubicBezTo>
                    <a:pt x="141" y="546"/>
                    <a:pt x="141" y="546"/>
                    <a:pt x="141" y="546"/>
                  </a:cubicBezTo>
                  <a:cubicBezTo>
                    <a:pt x="169" y="546"/>
                    <a:pt x="196" y="543"/>
                    <a:pt x="222" y="538"/>
                  </a:cubicBezTo>
                  <a:cubicBezTo>
                    <a:pt x="223" y="526"/>
                    <a:pt x="223" y="526"/>
                    <a:pt x="223" y="526"/>
                  </a:cubicBezTo>
                  <a:cubicBezTo>
                    <a:pt x="319" y="511"/>
                    <a:pt x="319" y="511"/>
                    <a:pt x="319" y="511"/>
                  </a:cubicBezTo>
                  <a:cubicBezTo>
                    <a:pt x="494" y="441"/>
                    <a:pt x="621" y="276"/>
                    <a:pt x="634" y="79"/>
                  </a:cubicBezTo>
                  <a:cubicBezTo>
                    <a:pt x="634" y="79"/>
                    <a:pt x="634" y="79"/>
                    <a:pt x="634" y="79"/>
                  </a:cubicBezTo>
                  <a:cubicBezTo>
                    <a:pt x="634" y="78"/>
                    <a:pt x="634" y="78"/>
                    <a:pt x="634" y="78"/>
                  </a:cubicBezTo>
                  <a:cubicBezTo>
                    <a:pt x="634" y="78"/>
                    <a:pt x="634" y="78"/>
                    <a:pt x="634" y="78"/>
                  </a:cubicBezTo>
                  <a:cubicBezTo>
                    <a:pt x="635" y="77"/>
                    <a:pt x="635" y="77"/>
                    <a:pt x="635" y="76"/>
                  </a:cubicBezTo>
                  <a:cubicBezTo>
                    <a:pt x="635" y="76"/>
                    <a:pt x="635" y="76"/>
                    <a:pt x="635" y="76"/>
                  </a:cubicBezTo>
                  <a:cubicBezTo>
                    <a:pt x="635" y="76"/>
                    <a:pt x="635" y="76"/>
                    <a:pt x="635" y="75"/>
                  </a:cubicBezTo>
                  <a:cubicBezTo>
                    <a:pt x="635" y="75"/>
                    <a:pt x="635" y="75"/>
                    <a:pt x="635" y="75"/>
                  </a:cubicBezTo>
                  <a:cubicBezTo>
                    <a:pt x="635" y="75"/>
                    <a:pt x="635" y="74"/>
                    <a:pt x="635" y="74"/>
                  </a:cubicBezTo>
                  <a:cubicBezTo>
                    <a:pt x="635" y="74"/>
                    <a:pt x="635" y="74"/>
                    <a:pt x="635" y="74"/>
                  </a:cubicBezTo>
                  <a:cubicBezTo>
                    <a:pt x="635" y="73"/>
                    <a:pt x="635" y="73"/>
                    <a:pt x="635" y="73"/>
                  </a:cubicBezTo>
                  <a:cubicBezTo>
                    <a:pt x="635" y="73"/>
                    <a:pt x="635" y="73"/>
                    <a:pt x="635" y="73"/>
                  </a:cubicBezTo>
                  <a:cubicBezTo>
                    <a:pt x="635" y="72"/>
                    <a:pt x="635" y="72"/>
                    <a:pt x="635" y="71"/>
                  </a:cubicBezTo>
                  <a:cubicBezTo>
                    <a:pt x="635" y="71"/>
                    <a:pt x="635" y="71"/>
                    <a:pt x="635" y="71"/>
                  </a:cubicBezTo>
                  <a:cubicBezTo>
                    <a:pt x="635" y="71"/>
                    <a:pt x="635" y="71"/>
                    <a:pt x="635" y="71"/>
                  </a:cubicBezTo>
                  <a:cubicBezTo>
                    <a:pt x="635" y="71"/>
                    <a:pt x="635" y="71"/>
                    <a:pt x="635" y="71"/>
                  </a:cubicBezTo>
                  <a:cubicBezTo>
                    <a:pt x="635" y="70"/>
                    <a:pt x="635" y="70"/>
                    <a:pt x="635" y="70"/>
                  </a:cubicBezTo>
                  <a:cubicBezTo>
                    <a:pt x="635" y="70"/>
                    <a:pt x="635" y="70"/>
                    <a:pt x="635" y="70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35" y="69"/>
                    <a:pt x="635" y="69"/>
                    <a:pt x="635" y="68"/>
                  </a:cubicBezTo>
                  <a:cubicBezTo>
                    <a:pt x="635" y="68"/>
                    <a:pt x="635" y="68"/>
                    <a:pt x="635" y="68"/>
                  </a:cubicBezTo>
                  <a:cubicBezTo>
                    <a:pt x="635" y="68"/>
                    <a:pt x="635" y="68"/>
                    <a:pt x="635" y="67"/>
                  </a:cubicBezTo>
                  <a:cubicBezTo>
                    <a:pt x="635" y="67"/>
                    <a:pt x="635" y="67"/>
                    <a:pt x="635" y="67"/>
                  </a:cubicBezTo>
                  <a:cubicBezTo>
                    <a:pt x="635" y="67"/>
                    <a:pt x="635" y="66"/>
                    <a:pt x="635" y="66"/>
                  </a:cubicBezTo>
                  <a:cubicBezTo>
                    <a:pt x="635" y="66"/>
                    <a:pt x="635" y="66"/>
                    <a:pt x="635" y="66"/>
                  </a:cubicBezTo>
                  <a:cubicBezTo>
                    <a:pt x="635" y="65"/>
                    <a:pt x="635" y="65"/>
                    <a:pt x="635" y="65"/>
                  </a:cubicBezTo>
                  <a:cubicBezTo>
                    <a:pt x="635" y="65"/>
                    <a:pt x="635" y="65"/>
                    <a:pt x="635" y="65"/>
                  </a:cubicBezTo>
                  <a:cubicBezTo>
                    <a:pt x="635" y="64"/>
                    <a:pt x="635" y="64"/>
                    <a:pt x="635" y="64"/>
                  </a:cubicBezTo>
                  <a:cubicBezTo>
                    <a:pt x="635" y="64"/>
                    <a:pt x="635" y="64"/>
                    <a:pt x="635" y="64"/>
                  </a:cubicBezTo>
                  <a:cubicBezTo>
                    <a:pt x="635" y="64"/>
                    <a:pt x="635" y="64"/>
                    <a:pt x="635" y="63"/>
                  </a:cubicBezTo>
                  <a:cubicBezTo>
                    <a:pt x="635" y="63"/>
                    <a:pt x="635" y="63"/>
                    <a:pt x="635" y="63"/>
                  </a:cubicBezTo>
                  <a:cubicBezTo>
                    <a:pt x="635" y="63"/>
                    <a:pt x="635" y="63"/>
                    <a:pt x="635" y="63"/>
                  </a:cubicBezTo>
                  <a:cubicBezTo>
                    <a:pt x="635" y="63"/>
                    <a:pt x="635" y="63"/>
                    <a:pt x="635" y="63"/>
                  </a:cubicBezTo>
                  <a:cubicBezTo>
                    <a:pt x="635" y="63"/>
                    <a:pt x="635" y="62"/>
                    <a:pt x="635" y="62"/>
                  </a:cubicBezTo>
                  <a:cubicBezTo>
                    <a:pt x="635" y="62"/>
                    <a:pt x="635" y="62"/>
                    <a:pt x="635" y="62"/>
                  </a:cubicBezTo>
                  <a:cubicBezTo>
                    <a:pt x="635" y="62"/>
                    <a:pt x="635" y="62"/>
                    <a:pt x="635" y="62"/>
                  </a:cubicBezTo>
                  <a:cubicBezTo>
                    <a:pt x="635" y="62"/>
                    <a:pt x="635" y="62"/>
                    <a:pt x="635" y="62"/>
                  </a:cubicBezTo>
                  <a:cubicBezTo>
                    <a:pt x="635" y="61"/>
                    <a:pt x="635" y="61"/>
                    <a:pt x="635" y="61"/>
                  </a:cubicBezTo>
                  <a:cubicBezTo>
                    <a:pt x="635" y="61"/>
                    <a:pt x="635" y="61"/>
                    <a:pt x="635" y="61"/>
                  </a:cubicBezTo>
                  <a:cubicBezTo>
                    <a:pt x="635" y="61"/>
                    <a:pt x="635" y="61"/>
                    <a:pt x="635" y="60"/>
                  </a:cubicBezTo>
                  <a:cubicBezTo>
                    <a:pt x="635" y="60"/>
                    <a:pt x="635" y="60"/>
                    <a:pt x="635" y="60"/>
                  </a:cubicBezTo>
                  <a:cubicBezTo>
                    <a:pt x="635" y="60"/>
                    <a:pt x="635" y="60"/>
                    <a:pt x="635" y="60"/>
                  </a:cubicBezTo>
                  <a:cubicBezTo>
                    <a:pt x="635" y="60"/>
                    <a:pt x="635" y="60"/>
                    <a:pt x="635" y="60"/>
                  </a:cubicBezTo>
                  <a:cubicBezTo>
                    <a:pt x="635" y="60"/>
                    <a:pt x="635" y="59"/>
                    <a:pt x="635" y="59"/>
                  </a:cubicBezTo>
                  <a:cubicBezTo>
                    <a:pt x="635" y="59"/>
                    <a:pt x="635" y="59"/>
                    <a:pt x="635" y="59"/>
                  </a:cubicBezTo>
                  <a:cubicBezTo>
                    <a:pt x="635" y="59"/>
                    <a:pt x="635" y="59"/>
                    <a:pt x="635" y="59"/>
                  </a:cubicBezTo>
                  <a:cubicBezTo>
                    <a:pt x="635" y="59"/>
                    <a:pt x="635" y="59"/>
                    <a:pt x="635" y="59"/>
                  </a:cubicBezTo>
                  <a:cubicBezTo>
                    <a:pt x="635" y="58"/>
                    <a:pt x="635" y="58"/>
                    <a:pt x="635" y="58"/>
                  </a:cubicBezTo>
                  <a:cubicBezTo>
                    <a:pt x="635" y="58"/>
                    <a:pt x="635" y="58"/>
                    <a:pt x="635" y="58"/>
                  </a:cubicBezTo>
                  <a:cubicBezTo>
                    <a:pt x="635" y="57"/>
                    <a:pt x="635" y="57"/>
                    <a:pt x="635" y="57"/>
                  </a:cubicBezTo>
                  <a:cubicBezTo>
                    <a:pt x="635" y="57"/>
                    <a:pt x="635" y="57"/>
                    <a:pt x="635" y="57"/>
                  </a:cubicBezTo>
                  <a:cubicBezTo>
                    <a:pt x="635" y="56"/>
                    <a:pt x="635" y="56"/>
                    <a:pt x="635" y="55"/>
                  </a:cubicBezTo>
                  <a:cubicBezTo>
                    <a:pt x="635" y="55"/>
                    <a:pt x="635" y="55"/>
                    <a:pt x="635" y="55"/>
                  </a:cubicBezTo>
                  <a:cubicBezTo>
                    <a:pt x="635" y="55"/>
                    <a:pt x="635" y="55"/>
                    <a:pt x="635" y="54"/>
                  </a:cubicBezTo>
                  <a:cubicBezTo>
                    <a:pt x="635" y="54"/>
                    <a:pt x="635" y="54"/>
                    <a:pt x="635" y="54"/>
                  </a:cubicBezTo>
                  <a:cubicBezTo>
                    <a:pt x="635" y="54"/>
                    <a:pt x="635" y="54"/>
                    <a:pt x="635" y="54"/>
                  </a:cubicBezTo>
                  <a:cubicBezTo>
                    <a:pt x="635" y="54"/>
                    <a:pt x="635" y="54"/>
                    <a:pt x="635" y="54"/>
                  </a:cubicBezTo>
                  <a:cubicBezTo>
                    <a:pt x="635" y="53"/>
                    <a:pt x="635" y="53"/>
                    <a:pt x="635" y="53"/>
                  </a:cubicBezTo>
                  <a:cubicBezTo>
                    <a:pt x="635" y="53"/>
                    <a:pt x="635" y="53"/>
                    <a:pt x="635" y="53"/>
                  </a:cubicBezTo>
                  <a:cubicBezTo>
                    <a:pt x="635" y="53"/>
                    <a:pt x="635" y="53"/>
                    <a:pt x="635" y="52"/>
                  </a:cubicBezTo>
                  <a:cubicBezTo>
                    <a:pt x="635" y="52"/>
                    <a:pt x="635" y="52"/>
                    <a:pt x="636" y="52"/>
                  </a:cubicBezTo>
                  <a:cubicBezTo>
                    <a:pt x="636" y="52"/>
                    <a:pt x="636" y="52"/>
                    <a:pt x="636" y="52"/>
                  </a:cubicBezTo>
                  <a:cubicBezTo>
                    <a:pt x="636" y="52"/>
                    <a:pt x="636" y="52"/>
                    <a:pt x="636" y="52"/>
                  </a:cubicBezTo>
                  <a:cubicBezTo>
                    <a:pt x="636" y="51"/>
                    <a:pt x="636" y="51"/>
                    <a:pt x="636" y="51"/>
                  </a:cubicBezTo>
                  <a:cubicBezTo>
                    <a:pt x="636" y="51"/>
                    <a:pt x="636" y="51"/>
                    <a:pt x="636" y="51"/>
                  </a:cubicBezTo>
                  <a:cubicBezTo>
                    <a:pt x="636" y="51"/>
                    <a:pt x="636" y="51"/>
                    <a:pt x="636" y="51"/>
                  </a:cubicBezTo>
                  <a:cubicBezTo>
                    <a:pt x="636" y="51"/>
                    <a:pt x="636" y="50"/>
                    <a:pt x="636" y="50"/>
                  </a:cubicBezTo>
                  <a:cubicBezTo>
                    <a:pt x="636" y="50"/>
                    <a:pt x="636" y="50"/>
                    <a:pt x="636" y="50"/>
                  </a:cubicBezTo>
                  <a:cubicBezTo>
                    <a:pt x="636" y="50"/>
                    <a:pt x="636" y="50"/>
                    <a:pt x="636" y="50"/>
                  </a:cubicBezTo>
                  <a:cubicBezTo>
                    <a:pt x="636" y="50"/>
                    <a:pt x="636" y="49"/>
                    <a:pt x="636" y="49"/>
                  </a:cubicBezTo>
                  <a:cubicBezTo>
                    <a:pt x="636" y="49"/>
                    <a:pt x="636" y="49"/>
                    <a:pt x="636" y="49"/>
                  </a:cubicBezTo>
                  <a:cubicBezTo>
                    <a:pt x="636" y="49"/>
                    <a:pt x="636" y="49"/>
                    <a:pt x="636" y="49"/>
                  </a:cubicBezTo>
                  <a:cubicBezTo>
                    <a:pt x="636" y="49"/>
                    <a:pt x="636" y="49"/>
                    <a:pt x="636" y="49"/>
                  </a:cubicBezTo>
                  <a:cubicBezTo>
                    <a:pt x="636" y="48"/>
                    <a:pt x="636" y="48"/>
                    <a:pt x="636" y="48"/>
                  </a:cubicBezTo>
                  <a:cubicBezTo>
                    <a:pt x="636" y="48"/>
                    <a:pt x="636" y="48"/>
                    <a:pt x="636" y="48"/>
                  </a:cubicBezTo>
                  <a:cubicBezTo>
                    <a:pt x="636" y="48"/>
                    <a:pt x="636" y="48"/>
                    <a:pt x="636" y="47"/>
                  </a:cubicBezTo>
                  <a:cubicBezTo>
                    <a:pt x="636" y="47"/>
                    <a:pt x="636" y="47"/>
                    <a:pt x="636" y="47"/>
                  </a:cubicBezTo>
                  <a:cubicBezTo>
                    <a:pt x="636" y="47"/>
                    <a:pt x="636" y="47"/>
                    <a:pt x="636" y="47"/>
                  </a:cubicBezTo>
                  <a:cubicBezTo>
                    <a:pt x="636" y="47"/>
                    <a:pt x="636" y="47"/>
                    <a:pt x="636" y="47"/>
                  </a:cubicBezTo>
                  <a:cubicBezTo>
                    <a:pt x="636" y="47"/>
                    <a:pt x="636" y="46"/>
                    <a:pt x="636" y="46"/>
                  </a:cubicBezTo>
                  <a:cubicBezTo>
                    <a:pt x="636" y="46"/>
                    <a:pt x="636" y="46"/>
                    <a:pt x="636" y="46"/>
                  </a:cubicBezTo>
                  <a:cubicBezTo>
                    <a:pt x="636" y="46"/>
                    <a:pt x="636" y="46"/>
                    <a:pt x="636" y="46"/>
                  </a:cubicBezTo>
                  <a:cubicBezTo>
                    <a:pt x="636" y="46"/>
                    <a:pt x="636" y="46"/>
                    <a:pt x="636" y="46"/>
                  </a:cubicBezTo>
                  <a:cubicBezTo>
                    <a:pt x="636" y="45"/>
                    <a:pt x="636" y="45"/>
                    <a:pt x="636" y="45"/>
                  </a:cubicBezTo>
                  <a:cubicBezTo>
                    <a:pt x="636" y="45"/>
                    <a:pt x="636" y="45"/>
                    <a:pt x="636" y="45"/>
                  </a:cubicBezTo>
                  <a:cubicBezTo>
                    <a:pt x="636" y="45"/>
                    <a:pt x="636" y="44"/>
                    <a:pt x="636" y="44"/>
                  </a:cubicBezTo>
                  <a:cubicBezTo>
                    <a:pt x="636" y="44"/>
                    <a:pt x="636" y="44"/>
                    <a:pt x="636" y="44"/>
                  </a:cubicBezTo>
                  <a:cubicBezTo>
                    <a:pt x="636" y="44"/>
                    <a:pt x="636" y="44"/>
                    <a:pt x="636" y="44"/>
                  </a:cubicBezTo>
                  <a:cubicBezTo>
                    <a:pt x="636" y="44"/>
                    <a:pt x="636" y="44"/>
                    <a:pt x="636" y="44"/>
                  </a:cubicBezTo>
                  <a:cubicBezTo>
                    <a:pt x="636" y="29"/>
                    <a:pt x="635" y="14"/>
                    <a:pt x="634" y="0"/>
                  </a:cubicBezTo>
                </a:path>
              </a:pathLst>
            </a:custGeom>
            <a:solidFill>
              <a:srgbClr val="1EB2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8" name="i$ļïďe"/>
            <p:cNvSpPr/>
            <p:nvPr/>
          </p:nvSpPr>
          <p:spPr bwMode="auto">
            <a:xfrm>
              <a:off x="5916612" y="4067969"/>
              <a:ext cx="719138" cy="612775"/>
            </a:xfrm>
            <a:custGeom>
              <a:avLst/>
              <a:gdLst>
                <a:gd name="T0" fmla="*/ 165 w 218"/>
                <a:gd name="T1" fmla="*/ 17 h 186"/>
                <a:gd name="T2" fmla="*/ 150 w 218"/>
                <a:gd name="T3" fmla="*/ 46 h 186"/>
                <a:gd name="T4" fmla="*/ 132 w 218"/>
                <a:gd name="T5" fmla="*/ 34 h 186"/>
                <a:gd name="T6" fmla="*/ 133 w 218"/>
                <a:gd name="T7" fmla="*/ 12 h 186"/>
                <a:gd name="T8" fmla="*/ 113 w 218"/>
                <a:gd name="T9" fmla="*/ 2 h 186"/>
                <a:gd name="T10" fmla="*/ 110 w 218"/>
                <a:gd name="T11" fmla="*/ 4 h 186"/>
                <a:gd name="T12" fmla="*/ 97 w 218"/>
                <a:gd name="T13" fmla="*/ 25 h 186"/>
                <a:gd name="T14" fmla="*/ 91 w 218"/>
                <a:gd name="T15" fmla="*/ 30 h 186"/>
                <a:gd name="T16" fmla="*/ 75 w 218"/>
                <a:gd name="T17" fmla="*/ 24 h 186"/>
                <a:gd name="T18" fmla="*/ 64 w 218"/>
                <a:gd name="T19" fmla="*/ 33 h 186"/>
                <a:gd name="T20" fmla="*/ 59 w 218"/>
                <a:gd name="T21" fmla="*/ 44 h 186"/>
                <a:gd name="T22" fmla="*/ 53 w 218"/>
                <a:gd name="T23" fmla="*/ 40 h 186"/>
                <a:gd name="T24" fmla="*/ 34 w 218"/>
                <a:gd name="T25" fmla="*/ 64 h 186"/>
                <a:gd name="T26" fmla="*/ 6 w 218"/>
                <a:gd name="T27" fmla="*/ 96 h 186"/>
                <a:gd name="T28" fmla="*/ 5 w 218"/>
                <a:gd name="T29" fmla="*/ 105 h 186"/>
                <a:gd name="T30" fmla="*/ 2 w 218"/>
                <a:gd name="T31" fmla="*/ 102 h 186"/>
                <a:gd name="T32" fmla="*/ 3 w 218"/>
                <a:gd name="T33" fmla="*/ 109 h 186"/>
                <a:gd name="T34" fmla="*/ 19 w 218"/>
                <a:gd name="T35" fmla="*/ 164 h 186"/>
                <a:gd name="T36" fmla="*/ 30 w 218"/>
                <a:gd name="T37" fmla="*/ 164 h 186"/>
                <a:gd name="T38" fmla="*/ 68 w 218"/>
                <a:gd name="T39" fmla="*/ 145 h 186"/>
                <a:gd name="T40" fmla="*/ 91 w 218"/>
                <a:gd name="T41" fmla="*/ 140 h 186"/>
                <a:gd name="T42" fmla="*/ 116 w 218"/>
                <a:gd name="T43" fmla="*/ 159 h 186"/>
                <a:gd name="T44" fmla="*/ 123 w 218"/>
                <a:gd name="T45" fmla="*/ 149 h 186"/>
                <a:gd name="T46" fmla="*/ 128 w 218"/>
                <a:gd name="T47" fmla="*/ 146 h 186"/>
                <a:gd name="T48" fmla="*/ 124 w 218"/>
                <a:gd name="T49" fmla="*/ 161 h 186"/>
                <a:gd name="T50" fmla="*/ 131 w 218"/>
                <a:gd name="T51" fmla="*/ 161 h 186"/>
                <a:gd name="T52" fmla="*/ 145 w 218"/>
                <a:gd name="T53" fmla="*/ 185 h 186"/>
                <a:gd name="T54" fmla="*/ 157 w 218"/>
                <a:gd name="T55" fmla="*/ 181 h 186"/>
                <a:gd name="T56" fmla="*/ 163 w 218"/>
                <a:gd name="T57" fmla="*/ 186 h 186"/>
                <a:gd name="T58" fmla="*/ 174 w 218"/>
                <a:gd name="T59" fmla="*/ 178 h 186"/>
                <a:gd name="T60" fmla="*/ 194 w 218"/>
                <a:gd name="T61" fmla="*/ 150 h 186"/>
                <a:gd name="T62" fmla="*/ 213 w 218"/>
                <a:gd name="T63" fmla="*/ 84 h 186"/>
                <a:gd name="T64" fmla="*/ 194 w 218"/>
                <a:gd name="T65" fmla="*/ 59 h 186"/>
                <a:gd name="T66" fmla="*/ 179 w 218"/>
                <a:gd name="T67" fmla="*/ 18 h 186"/>
                <a:gd name="T68" fmla="*/ 172 w 218"/>
                <a:gd name="T69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8" h="186">
                  <a:moveTo>
                    <a:pt x="172" y="0"/>
                  </a:moveTo>
                  <a:cubicBezTo>
                    <a:pt x="168" y="5"/>
                    <a:pt x="166" y="11"/>
                    <a:pt x="165" y="17"/>
                  </a:cubicBezTo>
                  <a:cubicBezTo>
                    <a:pt x="163" y="26"/>
                    <a:pt x="159" y="35"/>
                    <a:pt x="154" y="43"/>
                  </a:cubicBezTo>
                  <a:cubicBezTo>
                    <a:pt x="153" y="45"/>
                    <a:pt x="152" y="46"/>
                    <a:pt x="150" y="46"/>
                  </a:cubicBezTo>
                  <a:cubicBezTo>
                    <a:pt x="150" y="46"/>
                    <a:pt x="149" y="46"/>
                    <a:pt x="148" y="45"/>
                  </a:cubicBezTo>
                  <a:cubicBezTo>
                    <a:pt x="143" y="41"/>
                    <a:pt x="138" y="37"/>
                    <a:pt x="132" y="34"/>
                  </a:cubicBezTo>
                  <a:cubicBezTo>
                    <a:pt x="127" y="31"/>
                    <a:pt x="127" y="26"/>
                    <a:pt x="129" y="21"/>
                  </a:cubicBezTo>
                  <a:cubicBezTo>
                    <a:pt x="130" y="18"/>
                    <a:pt x="131" y="15"/>
                    <a:pt x="133" y="12"/>
                  </a:cubicBezTo>
                  <a:cubicBezTo>
                    <a:pt x="135" y="10"/>
                    <a:pt x="135" y="8"/>
                    <a:pt x="132" y="6"/>
                  </a:cubicBezTo>
                  <a:cubicBezTo>
                    <a:pt x="126" y="3"/>
                    <a:pt x="119" y="4"/>
                    <a:pt x="113" y="2"/>
                  </a:cubicBezTo>
                  <a:cubicBezTo>
                    <a:pt x="113" y="2"/>
                    <a:pt x="113" y="2"/>
                    <a:pt x="112" y="2"/>
                  </a:cubicBezTo>
                  <a:cubicBezTo>
                    <a:pt x="112" y="2"/>
                    <a:pt x="111" y="3"/>
                    <a:pt x="110" y="4"/>
                  </a:cubicBezTo>
                  <a:cubicBezTo>
                    <a:pt x="109" y="7"/>
                    <a:pt x="106" y="9"/>
                    <a:pt x="104" y="11"/>
                  </a:cubicBezTo>
                  <a:cubicBezTo>
                    <a:pt x="101" y="16"/>
                    <a:pt x="96" y="19"/>
                    <a:pt x="97" y="25"/>
                  </a:cubicBezTo>
                  <a:cubicBezTo>
                    <a:pt x="98" y="30"/>
                    <a:pt x="96" y="30"/>
                    <a:pt x="92" y="30"/>
                  </a:cubicBezTo>
                  <a:cubicBezTo>
                    <a:pt x="92" y="30"/>
                    <a:pt x="92" y="30"/>
                    <a:pt x="91" y="30"/>
                  </a:cubicBezTo>
                  <a:cubicBezTo>
                    <a:pt x="89" y="30"/>
                    <a:pt x="86" y="30"/>
                    <a:pt x="84" y="29"/>
                  </a:cubicBezTo>
                  <a:cubicBezTo>
                    <a:pt x="80" y="29"/>
                    <a:pt x="78" y="24"/>
                    <a:pt x="75" y="24"/>
                  </a:cubicBezTo>
                  <a:cubicBezTo>
                    <a:pt x="74" y="24"/>
                    <a:pt x="74" y="24"/>
                    <a:pt x="73" y="24"/>
                  </a:cubicBezTo>
                  <a:cubicBezTo>
                    <a:pt x="70" y="26"/>
                    <a:pt x="68" y="31"/>
                    <a:pt x="64" y="33"/>
                  </a:cubicBezTo>
                  <a:cubicBezTo>
                    <a:pt x="62" y="34"/>
                    <a:pt x="61" y="35"/>
                    <a:pt x="61" y="37"/>
                  </a:cubicBezTo>
                  <a:cubicBezTo>
                    <a:pt x="61" y="40"/>
                    <a:pt x="62" y="43"/>
                    <a:pt x="59" y="44"/>
                  </a:cubicBezTo>
                  <a:cubicBezTo>
                    <a:pt x="59" y="44"/>
                    <a:pt x="58" y="44"/>
                    <a:pt x="58" y="44"/>
                  </a:cubicBezTo>
                  <a:cubicBezTo>
                    <a:pt x="56" y="44"/>
                    <a:pt x="55" y="41"/>
                    <a:pt x="53" y="40"/>
                  </a:cubicBezTo>
                  <a:cubicBezTo>
                    <a:pt x="51" y="45"/>
                    <a:pt x="53" y="50"/>
                    <a:pt x="49" y="54"/>
                  </a:cubicBezTo>
                  <a:cubicBezTo>
                    <a:pt x="44" y="58"/>
                    <a:pt x="40" y="62"/>
                    <a:pt x="34" y="64"/>
                  </a:cubicBezTo>
                  <a:cubicBezTo>
                    <a:pt x="24" y="67"/>
                    <a:pt x="15" y="73"/>
                    <a:pt x="7" y="78"/>
                  </a:cubicBezTo>
                  <a:cubicBezTo>
                    <a:pt x="1" y="82"/>
                    <a:pt x="1" y="87"/>
                    <a:pt x="6" y="96"/>
                  </a:cubicBezTo>
                  <a:cubicBezTo>
                    <a:pt x="8" y="99"/>
                    <a:pt x="10" y="103"/>
                    <a:pt x="6" y="105"/>
                  </a:cubicBezTo>
                  <a:cubicBezTo>
                    <a:pt x="6" y="105"/>
                    <a:pt x="6" y="105"/>
                    <a:pt x="5" y="105"/>
                  </a:cubicBezTo>
                  <a:cubicBezTo>
                    <a:pt x="4" y="105"/>
                    <a:pt x="4" y="102"/>
                    <a:pt x="2" y="102"/>
                  </a:cubicBezTo>
                  <a:cubicBezTo>
                    <a:pt x="2" y="102"/>
                    <a:pt x="2" y="102"/>
                    <a:pt x="2" y="10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4"/>
                    <a:pt x="2" y="107"/>
                    <a:pt x="3" y="109"/>
                  </a:cubicBezTo>
                  <a:cubicBezTo>
                    <a:pt x="11" y="123"/>
                    <a:pt x="14" y="138"/>
                    <a:pt x="14" y="155"/>
                  </a:cubicBezTo>
                  <a:cubicBezTo>
                    <a:pt x="15" y="159"/>
                    <a:pt x="15" y="162"/>
                    <a:pt x="19" y="164"/>
                  </a:cubicBezTo>
                  <a:cubicBezTo>
                    <a:pt x="21" y="165"/>
                    <a:pt x="23" y="166"/>
                    <a:pt x="25" y="166"/>
                  </a:cubicBezTo>
                  <a:cubicBezTo>
                    <a:pt x="26" y="166"/>
                    <a:pt x="28" y="165"/>
                    <a:pt x="30" y="164"/>
                  </a:cubicBezTo>
                  <a:cubicBezTo>
                    <a:pt x="32" y="163"/>
                    <a:pt x="34" y="161"/>
                    <a:pt x="36" y="160"/>
                  </a:cubicBezTo>
                  <a:cubicBezTo>
                    <a:pt x="47" y="155"/>
                    <a:pt x="58" y="153"/>
                    <a:pt x="68" y="145"/>
                  </a:cubicBezTo>
                  <a:cubicBezTo>
                    <a:pt x="72" y="142"/>
                    <a:pt x="77" y="143"/>
                    <a:pt x="82" y="142"/>
                  </a:cubicBezTo>
                  <a:cubicBezTo>
                    <a:pt x="85" y="141"/>
                    <a:pt x="88" y="140"/>
                    <a:pt x="91" y="140"/>
                  </a:cubicBezTo>
                  <a:cubicBezTo>
                    <a:pt x="99" y="140"/>
                    <a:pt x="105" y="144"/>
                    <a:pt x="110" y="150"/>
                  </a:cubicBezTo>
                  <a:cubicBezTo>
                    <a:pt x="113" y="153"/>
                    <a:pt x="112" y="159"/>
                    <a:pt x="116" y="159"/>
                  </a:cubicBezTo>
                  <a:cubicBezTo>
                    <a:pt x="116" y="159"/>
                    <a:pt x="116" y="159"/>
                    <a:pt x="116" y="159"/>
                  </a:cubicBezTo>
                  <a:cubicBezTo>
                    <a:pt x="120" y="159"/>
                    <a:pt x="121" y="152"/>
                    <a:pt x="123" y="149"/>
                  </a:cubicBezTo>
                  <a:cubicBezTo>
                    <a:pt x="124" y="148"/>
                    <a:pt x="125" y="146"/>
                    <a:pt x="127" y="146"/>
                  </a:cubicBezTo>
                  <a:cubicBezTo>
                    <a:pt x="127" y="146"/>
                    <a:pt x="127" y="146"/>
                    <a:pt x="128" y="146"/>
                  </a:cubicBezTo>
                  <a:cubicBezTo>
                    <a:pt x="130" y="147"/>
                    <a:pt x="129" y="149"/>
                    <a:pt x="128" y="151"/>
                  </a:cubicBezTo>
                  <a:cubicBezTo>
                    <a:pt x="127" y="155"/>
                    <a:pt x="126" y="158"/>
                    <a:pt x="124" y="161"/>
                  </a:cubicBezTo>
                  <a:cubicBezTo>
                    <a:pt x="126" y="161"/>
                    <a:pt x="128" y="159"/>
                    <a:pt x="130" y="159"/>
                  </a:cubicBezTo>
                  <a:cubicBezTo>
                    <a:pt x="130" y="159"/>
                    <a:pt x="131" y="159"/>
                    <a:pt x="131" y="161"/>
                  </a:cubicBezTo>
                  <a:cubicBezTo>
                    <a:pt x="131" y="168"/>
                    <a:pt x="135" y="172"/>
                    <a:pt x="137" y="177"/>
                  </a:cubicBezTo>
                  <a:cubicBezTo>
                    <a:pt x="138" y="183"/>
                    <a:pt x="141" y="185"/>
                    <a:pt x="145" y="185"/>
                  </a:cubicBezTo>
                  <a:cubicBezTo>
                    <a:pt x="147" y="185"/>
                    <a:pt x="150" y="185"/>
                    <a:pt x="153" y="183"/>
                  </a:cubicBezTo>
                  <a:cubicBezTo>
                    <a:pt x="155" y="182"/>
                    <a:pt x="156" y="181"/>
                    <a:pt x="157" y="181"/>
                  </a:cubicBezTo>
                  <a:cubicBezTo>
                    <a:pt x="158" y="181"/>
                    <a:pt x="158" y="182"/>
                    <a:pt x="159" y="182"/>
                  </a:cubicBezTo>
                  <a:cubicBezTo>
                    <a:pt x="160" y="185"/>
                    <a:pt x="162" y="186"/>
                    <a:pt x="163" y="186"/>
                  </a:cubicBezTo>
                  <a:cubicBezTo>
                    <a:pt x="166" y="186"/>
                    <a:pt x="169" y="183"/>
                    <a:pt x="172" y="180"/>
                  </a:cubicBezTo>
                  <a:cubicBezTo>
                    <a:pt x="173" y="179"/>
                    <a:pt x="174" y="178"/>
                    <a:pt x="174" y="178"/>
                  </a:cubicBezTo>
                  <a:cubicBezTo>
                    <a:pt x="183" y="177"/>
                    <a:pt x="185" y="169"/>
                    <a:pt x="188" y="163"/>
                  </a:cubicBezTo>
                  <a:cubicBezTo>
                    <a:pt x="190" y="159"/>
                    <a:pt x="192" y="154"/>
                    <a:pt x="194" y="150"/>
                  </a:cubicBezTo>
                  <a:cubicBezTo>
                    <a:pt x="206" y="131"/>
                    <a:pt x="212" y="112"/>
                    <a:pt x="217" y="92"/>
                  </a:cubicBezTo>
                  <a:cubicBezTo>
                    <a:pt x="218" y="88"/>
                    <a:pt x="217" y="85"/>
                    <a:pt x="213" y="84"/>
                  </a:cubicBezTo>
                  <a:cubicBezTo>
                    <a:pt x="209" y="82"/>
                    <a:pt x="206" y="79"/>
                    <a:pt x="204" y="75"/>
                  </a:cubicBezTo>
                  <a:cubicBezTo>
                    <a:pt x="201" y="69"/>
                    <a:pt x="199" y="62"/>
                    <a:pt x="194" y="59"/>
                  </a:cubicBezTo>
                  <a:cubicBezTo>
                    <a:pt x="186" y="53"/>
                    <a:pt x="184" y="45"/>
                    <a:pt x="184" y="36"/>
                  </a:cubicBezTo>
                  <a:cubicBezTo>
                    <a:pt x="183" y="29"/>
                    <a:pt x="184" y="23"/>
                    <a:pt x="179" y="18"/>
                  </a:cubicBezTo>
                  <a:cubicBezTo>
                    <a:pt x="177" y="15"/>
                    <a:pt x="176" y="12"/>
                    <a:pt x="175" y="8"/>
                  </a:cubicBezTo>
                  <a:cubicBezTo>
                    <a:pt x="175" y="5"/>
                    <a:pt x="175" y="2"/>
                    <a:pt x="172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9" name="îś1íďe"/>
            <p:cNvSpPr/>
            <p:nvPr/>
          </p:nvSpPr>
          <p:spPr bwMode="auto">
            <a:xfrm>
              <a:off x="6256337" y="3991769"/>
              <a:ext cx="22225" cy="20638"/>
            </a:xfrm>
            <a:custGeom>
              <a:avLst/>
              <a:gdLst>
                <a:gd name="T0" fmla="*/ 4 w 7"/>
                <a:gd name="T1" fmla="*/ 0 h 6"/>
                <a:gd name="T2" fmla="*/ 3 w 7"/>
                <a:gd name="T3" fmla="*/ 0 h 6"/>
                <a:gd name="T4" fmla="*/ 0 w 7"/>
                <a:gd name="T5" fmla="*/ 3 h 6"/>
                <a:gd name="T6" fmla="*/ 3 w 7"/>
                <a:gd name="T7" fmla="*/ 6 h 6"/>
                <a:gd name="T8" fmla="*/ 3 w 7"/>
                <a:gd name="T9" fmla="*/ 6 h 6"/>
                <a:gd name="T10" fmla="*/ 7 w 7"/>
                <a:gd name="T11" fmla="*/ 3 h 6"/>
                <a:gd name="T12" fmla="*/ 4 w 7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6">
                  <a:moveTo>
                    <a:pt x="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5" y="6"/>
                    <a:pt x="6" y="5"/>
                    <a:pt x="7" y="3"/>
                  </a:cubicBezTo>
                  <a:cubicBezTo>
                    <a:pt x="7" y="1"/>
                    <a:pt x="5" y="0"/>
                    <a:pt x="4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0" name="is1ïďê"/>
            <p:cNvSpPr/>
            <p:nvPr/>
          </p:nvSpPr>
          <p:spPr bwMode="auto">
            <a:xfrm>
              <a:off x="6327775" y="3880644"/>
              <a:ext cx="136525" cy="131763"/>
            </a:xfrm>
            <a:custGeom>
              <a:avLst/>
              <a:gdLst>
                <a:gd name="T0" fmla="*/ 23 w 41"/>
                <a:gd name="T1" fmla="*/ 0 h 40"/>
                <a:gd name="T2" fmla="*/ 15 w 41"/>
                <a:gd name="T3" fmla="*/ 3 h 40"/>
                <a:gd name="T4" fmla="*/ 8 w 41"/>
                <a:gd name="T5" fmla="*/ 7 h 40"/>
                <a:gd name="T6" fmla="*/ 4 w 41"/>
                <a:gd name="T7" fmla="*/ 5 h 40"/>
                <a:gd name="T8" fmla="*/ 0 w 41"/>
                <a:gd name="T9" fmla="*/ 9 h 40"/>
                <a:gd name="T10" fmla="*/ 18 w 41"/>
                <a:gd name="T11" fmla="*/ 17 h 40"/>
                <a:gd name="T12" fmla="*/ 19 w 41"/>
                <a:gd name="T13" fmla="*/ 37 h 40"/>
                <a:gd name="T14" fmla="*/ 24 w 41"/>
                <a:gd name="T15" fmla="*/ 36 h 40"/>
                <a:gd name="T16" fmla="*/ 29 w 41"/>
                <a:gd name="T17" fmla="*/ 37 h 40"/>
                <a:gd name="T18" fmla="*/ 39 w 41"/>
                <a:gd name="T19" fmla="*/ 40 h 40"/>
                <a:gd name="T20" fmla="*/ 41 w 41"/>
                <a:gd name="T21" fmla="*/ 5 h 40"/>
                <a:gd name="T22" fmla="*/ 28 w 41"/>
                <a:gd name="T23" fmla="*/ 1 h 40"/>
                <a:gd name="T24" fmla="*/ 23 w 41"/>
                <a:gd name="T2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0">
                  <a:moveTo>
                    <a:pt x="23" y="0"/>
                  </a:moveTo>
                  <a:cubicBezTo>
                    <a:pt x="20" y="0"/>
                    <a:pt x="18" y="1"/>
                    <a:pt x="15" y="3"/>
                  </a:cubicBezTo>
                  <a:cubicBezTo>
                    <a:pt x="13" y="6"/>
                    <a:pt x="11" y="7"/>
                    <a:pt x="8" y="7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7" y="9"/>
                    <a:pt x="13" y="14"/>
                    <a:pt x="18" y="17"/>
                  </a:cubicBezTo>
                  <a:cubicBezTo>
                    <a:pt x="28" y="23"/>
                    <a:pt x="28" y="27"/>
                    <a:pt x="19" y="37"/>
                  </a:cubicBezTo>
                  <a:cubicBezTo>
                    <a:pt x="21" y="36"/>
                    <a:pt x="23" y="36"/>
                    <a:pt x="24" y="36"/>
                  </a:cubicBezTo>
                  <a:cubicBezTo>
                    <a:pt x="26" y="36"/>
                    <a:pt x="28" y="37"/>
                    <a:pt x="29" y="37"/>
                  </a:cubicBezTo>
                  <a:cubicBezTo>
                    <a:pt x="33" y="38"/>
                    <a:pt x="36" y="39"/>
                    <a:pt x="39" y="40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37" y="3"/>
                    <a:pt x="32" y="2"/>
                    <a:pt x="28" y="1"/>
                  </a:cubicBezTo>
                  <a:cubicBezTo>
                    <a:pt x="26" y="0"/>
                    <a:pt x="24" y="0"/>
                    <a:pt x="23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1" name="íṣ1íḍé"/>
            <p:cNvSpPr/>
            <p:nvPr/>
          </p:nvSpPr>
          <p:spPr bwMode="auto">
            <a:xfrm>
              <a:off x="7018337" y="4456907"/>
              <a:ext cx="82550" cy="134938"/>
            </a:xfrm>
            <a:custGeom>
              <a:avLst/>
              <a:gdLst>
                <a:gd name="T0" fmla="*/ 6 w 25"/>
                <a:gd name="T1" fmla="*/ 0 h 41"/>
                <a:gd name="T2" fmla="*/ 9 w 25"/>
                <a:gd name="T3" fmla="*/ 10 h 41"/>
                <a:gd name="T4" fmla="*/ 5 w 25"/>
                <a:gd name="T5" fmla="*/ 26 h 41"/>
                <a:gd name="T6" fmla="*/ 4 w 25"/>
                <a:gd name="T7" fmla="*/ 34 h 41"/>
                <a:gd name="T8" fmla="*/ 5 w 25"/>
                <a:gd name="T9" fmla="*/ 38 h 41"/>
                <a:gd name="T10" fmla="*/ 5 w 25"/>
                <a:gd name="T11" fmla="*/ 41 h 41"/>
                <a:gd name="T12" fmla="*/ 5 w 25"/>
                <a:gd name="T13" fmla="*/ 41 h 41"/>
                <a:gd name="T14" fmla="*/ 9 w 25"/>
                <a:gd name="T15" fmla="*/ 38 h 41"/>
                <a:gd name="T16" fmla="*/ 20 w 25"/>
                <a:gd name="T17" fmla="*/ 26 h 41"/>
                <a:gd name="T18" fmla="*/ 25 w 25"/>
                <a:gd name="T19" fmla="*/ 19 h 41"/>
                <a:gd name="T20" fmla="*/ 24 w 25"/>
                <a:gd name="T21" fmla="*/ 17 h 41"/>
                <a:gd name="T22" fmla="*/ 23 w 25"/>
                <a:gd name="T23" fmla="*/ 17 h 41"/>
                <a:gd name="T24" fmla="*/ 21 w 25"/>
                <a:gd name="T25" fmla="*/ 18 h 41"/>
                <a:gd name="T26" fmla="*/ 21 w 25"/>
                <a:gd name="T27" fmla="*/ 18 h 41"/>
                <a:gd name="T28" fmla="*/ 19 w 25"/>
                <a:gd name="T29" fmla="*/ 15 h 41"/>
                <a:gd name="T30" fmla="*/ 18 w 25"/>
                <a:gd name="T31" fmla="*/ 13 h 41"/>
                <a:gd name="T32" fmla="*/ 16 w 25"/>
                <a:gd name="T33" fmla="*/ 13 h 41"/>
                <a:gd name="T34" fmla="*/ 14 w 25"/>
                <a:gd name="T35" fmla="*/ 15 h 41"/>
                <a:gd name="T36" fmla="*/ 12 w 25"/>
                <a:gd name="T37" fmla="*/ 11 h 41"/>
                <a:gd name="T38" fmla="*/ 6 w 25"/>
                <a:gd name="T3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41">
                  <a:moveTo>
                    <a:pt x="6" y="0"/>
                  </a:moveTo>
                  <a:cubicBezTo>
                    <a:pt x="7" y="4"/>
                    <a:pt x="8" y="7"/>
                    <a:pt x="9" y="10"/>
                  </a:cubicBezTo>
                  <a:cubicBezTo>
                    <a:pt x="10" y="14"/>
                    <a:pt x="10" y="20"/>
                    <a:pt x="5" y="26"/>
                  </a:cubicBezTo>
                  <a:cubicBezTo>
                    <a:pt x="1" y="30"/>
                    <a:pt x="0" y="32"/>
                    <a:pt x="4" y="34"/>
                  </a:cubicBezTo>
                  <a:cubicBezTo>
                    <a:pt x="5" y="34"/>
                    <a:pt x="6" y="36"/>
                    <a:pt x="5" y="38"/>
                  </a:cubicBezTo>
                  <a:cubicBezTo>
                    <a:pt x="5" y="39"/>
                    <a:pt x="4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7" y="41"/>
                    <a:pt x="8" y="39"/>
                    <a:pt x="9" y="38"/>
                  </a:cubicBezTo>
                  <a:cubicBezTo>
                    <a:pt x="12" y="33"/>
                    <a:pt x="14" y="29"/>
                    <a:pt x="20" y="26"/>
                  </a:cubicBezTo>
                  <a:cubicBezTo>
                    <a:pt x="22" y="25"/>
                    <a:pt x="24" y="21"/>
                    <a:pt x="25" y="19"/>
                  </a:cubicBezTo>
                  <a:cubicBezTo>
                    <a:pt x="25" y="17"/>
                    <a:pt x="25" y="17"/>
                    <a:pt x="24" y="17"/>
                  </a:cubicBezTo>
                  <a:cubicBezTo>
                    <a:pt x="24" y="17"/>
                    <a:pt x="23" y="17"/>
                    <a:pt x="23" y="17"/>
                  </a:cubicBezTo>
                  <a:cubicBezTo>
                    <a:pt x="22" y="18"/>
                    <a:pt x="22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0" y="17"/>
                    <a:pt x="19" y="16"/>
                    <a:pt x="19" y="15"/>
                  </a:cubicBezTo>
                  <a:cubicBezTo>
                    <a:pt x="19" y="14"/>
                    <a:pt x="19" y="13"/>
                    <a:pt x="18" y="13"/>
                  </a:cubicBezTo>
                  <a:cubicBezTo>
                    <a:pt x="18" y="13"/>
                    <a:pt x="17" y="13"/>
                    <a:pt x="16" y="13"/>
                  </a:cubicBezTo>
                  <a:cubicBezTo>
                    <a:pt x="15" y="14"/>
                    <a:pt x="14" y="15"/>
                    <a:pt x="14" y="15"/>
                  </a:cubicBezTo>
                  <a:cubicBezTo>
                    <a:pt x="12" y="15"/>
                    <a:pt x="12" y="13"/>
                    <a:pt x="12" y="11"/>
                  </a:cubicBezTo>
                  <a:cubicBezTo>
                    <a:pt x="11" y="7"/>
                    <a:pt x="11" y="2"/>
                    <a:pt x="6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2" name="iṧ1ïḑe"/>
            <p:cNvSpPr/>
            <p:nvPr/>
          </p:nvSpPr>
          <p:spPr bwMode="auto">
            <a:xfrm>
              <a:off x="6407150" y="4707732"/>
              <a:ext cx="17463" cy="15875"/>
            </a:xfrm>
            <a:custGeom>
              <a:avLst/>
              <a:gdLst>
                <a:gd name="T0" fmla="*/ 3 w 5"/>
                <a:gd name="T1" fmla="*/ 0 h 5"/>
                <a:gd name="T2" fmla="*/ 3 w 5"/>
                <a:gd name="T3" fmla="*/ 0 h 5"/>
                <a:gd name="T4" fmla="*/ 1 w 5"/>
                <a:gd name="T5" fmla="*/ 3 h 5"/>
                <a:gd name="T6" fmla="*/ 2 w 5"/>
                <a:gd name="T7" fmla="*/ 5 h 5"/>
                <a:gd name="T8" fmla="*/ 2 w 5"/>
                <a:gd name="T9" fmla="*/ 5 h 5"/>
                <a:gd name="T10" fmla="*/ 5 w 5"/>
                <a:gd name="T11" fmla="*/ 2 h 5"/>
                <a:gd name="T12" fmla="*/ 3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4"/>
                    <a:pt x="4" y="4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3" name="ïṧľíďê"/>
            <p:cNvSpPr/>
            <p:nvPr/>
          </p:nvSpPr>
          <p:spPr bwMode="auto">
            <a:xfrm>
              <a:off x="6424612" y="4733132"/>
              <a:ext cx="55563" cy="57150"/>
            </a:xfrm>
            <a:custGeom>
              <a:avLst/>
              <a:gdLst>
                <a:gd name="T0" fmla="*/ 5 w 17"/>
                <a:gd name="T1" fmla="*/ 0 h 17"/>
                <a:gd name="T2" fmla="*/ 0 w 17"/>
                <a:gd name="T3" fmla="*/ 4 h 17"/>
                <a:gd name="T4" fmla="*/ 1 w 17"/>
                <a:gd name="T5" fmla="*/ 14 h 17"/>
                <a:gd name="T6" fmla="*/ 6 w 17"/>
                <a:gd name="T7" fmla="*/ 17 h 17"/>
                <a:gd name="T8" fmla="*/ 7 w 17"/>
                <a:gd name="T9" fmla="*/ 17 h 17"/>
                <a:gd name="T10" fmla="*/ 13 w 17"/>
                <a:gd name="T11" fmla="*/ 11 h 17"/>
                <a:gd name="T12" fmla="*/ 15 w 17"/>
                <a:gd name="T13" fmla="*/ 2 h 17"/>
                <a:gd name="T14" fmla="*/ 13 w 17"/>
                <a:gd name="T15" fmla="*/ 1 h 17"/>
                <a:gd name="T16" fmla="*/ 5 w 17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7">
                  <a:moveTo>
                    <a:pt x="5" y="0"/>
                  </a:moveTo>
                  <a:cubicBezTo>
                    <a:pt x="3" y="1"/>
                    <a:pt x="0" y="0"/>
                    <a:pt x="0" y="4"/>
                  </a:cubicBezTo>
                  <a:cubicBezTo>
                    <a:pt x="1" y="7"/>
                    <a:pt x="1" y="11"/>
                    <a:pt x="1" y="14"/>
                  </a:cubicBezTo>
                  <a:cubicBezTo>
                    <a:pt x="2" y="16"/>
                    <a:pt x="4" y="17"/>
                    <a:pt x="6" y="17"/>
                  </a:cubicBezTo>
                  <a:cubicBezTo>
                    <a:pt x="6" y="17"/>
                    <a:pt x="7" y="17"/>
                    <a:pt x="7" y="17"/>
                  </a:cubicBezTo>
                  <a:cubicBezTo>
                    <a:pt x="10" y="16"/>
                    <a:pt x="11" y="14"/>
                    <a:pt x="13" y="11"/>
                  </a:cubicBezTo>
                  <a:cubicBezTo>
                    <a:pt x="14" y="8"/>
                    <a:pt x="17" y="5"/>
                    <a:pt x="15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8" y="0"/>
                    <a:pt x="5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4" name="išľiḍè"/>
            <p:cNvSpPr/>
            <p:nvPr/>
          </p:nvSpPr>
          <p:spPr bwMode="auto">
            <a:xfrm>
              <a:off x="6853237" y="4233069"/>
              <a:ext cx="39688" cy="30163"/>
            </a:xfrm>
            <a:custGeom>
              <a:avLst/>
              <a:gdLst>
                <a:gd name="T0" fmla="*/ 3 w 12"/>
                <a:gd name="T1" fmla="*/ 0 h 9"/>
                <a:gd name="T2" fmla="*/ 0 w 12"/>
                <a:gd name="T3" fmla="*/ 3 h 9"/>
                <a:gd name="T4" fmla="*/ 8 w 12"/>
                <a:gd name="T5" fmla="*/ 9 h 9"/>
                <a:gd name="T6" fmla="*/ 8 w 12"/>
                <a:gd name="T7" fmla="*/ 9 h 9"/>
                <a:gd name="T8" fmla="*/ 12 w 12"/>
                <a:gd name="T9" fmla="*/ 5 h 9"/>
                <a:gd name="T10" fmla="*/ 4 w 12"/>
                <a:gd name="T11" fmla="*/ 0 h 9"/>
                <a:gd name="T12" fmla="*/ 3 w 1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">
                  <a:moveTo>
                    <a:pt x="3" y="0"/>
                  </a:moveTo>
                  <a:cubicBezTo>
                    <a:pt x="2" y="0"/>
                    <a:pt x="0" y="1"/>
                    <a:pt x="0" y="3"/>
                  </a:cubicBezTo>
                  <a:cubicBezTo>
                    <a:pt x="0" y="7"/>
                    <a:pt x="4" y="8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9"/>
                    <a:pt x="11" y="7"/>
                    <a:pt x="12" y="5"/>
                  </a:cubicBezTo>
                  <a:cubicBezTo>
                    <a:pt x="11" y="2"/>
                    <a:pt x="8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5" name="iṣľíḍe"/>
            <p:cNvSpPr/>
            <p:nvPr/>
          </p:nvSpPr>
          <p:spPr bwMode="auto">
            <a:xfrm>
              <a:off x="6853237" y="4598194"/>
              <a:ext cx="150813" cy="149225"/>
            </a:xfrm>
            <a:custGeom>
              <a:avLst/>
              <a:gdLst>
                <a:gd name="T0" fmla="*/ 43 w 46"/>
                <a:gd name="T1" fmla="*/ 0 h 45"/>
                <a:gd name="T2" fmla="*/ 36 w 46"/>
                <a:gd name="T3" fmla="*/ 5 h 45"/>
                <a:gd name="T4" fmla="*/ 34 w 46"/>
                <a:gd name="T5" fmla="*/ 8 h 45"/>
                <a:gd name="T6" fmla="*/ 22 w 46"/>
                <a:gd name="T7" fmla="*/ 21 h 45"/>
                <a:gd name="T8" fmla="*/ 0 w 46"/>
                <a:gd name="T9" fmla="*/ 44 h 45"/>
                <a:gd name="T10" fmla="*/ 3 w 46"/>
                <a:gd name="T11" fmla="*/ 44 h 45"/>
                <a:gd name="T12" fmla="*/ 7 w 46"/>
                <a:gd name="T13" fmla="*/ 45 h 45"/>
                <a:gd name="T14" fmla="*/ 10 w 46"/>
                <a:gd name="T15" fmla="*/ 45 h 45"/>
                <a:gd name="T16" fmla="*/ 21 w 46"/>
                <a:gd name="T17" fmla="*/ 36 h 45"/>
                <a:gd name="T18" fmla="*/ 41 w 46"/>
                <a:gd name="T19" fmla="*/ 11 h 45"/>
                <a:gd name="T20" fmla="*/ 45 w 46"/>
                <a:gd name="T21" fmla="*/ 2 h 45"/>
                <a:gd name="T22" fmla="*/ 43 w 46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45">
                  <a:moveTo>
                    <a:pt x="43" y="0"/>
                  </a:moveTo>
                  <a:cubicBezTo>
                    <a:pt x="41" y="0"/>
                    <a:pt x="39" y="3"/>
                    <a:pt x="36" y="5"/>
                  </a:cubicBezTo>
                  <a:cubicBezTo>
                    <a:pt x="35" y="6"/>
                    <a:pt x="34" y="7"/>
                    <a:pt x="34" y="8"/>
                  </a:cubicBezTo>
                  <a:cubicBezTo>
                    <a:pt x="31" y="13"/>
                    <a:pt x="26" y="17"/>
                    <a:pt x="22" y="21"/>
                  </a:cubicBezTo>
                  <a:cubicBezTo>
                    <a:pt x="14" y="28"/>
                    <a:pt x="7" y="35"/>
                    <a:pt x="0" y="44"/>
                  </a:cubicBezTo>
                  <a:cubicBezTo>
                    <a:pt x="1" y="44"/>
                    <a:pt x="2" y="44"/>
                    <a:pt x="3" y="44"/>
                  </a:cubicBezTo>
                  <a:cubicBezTo>
                    <a:pt x="5" y="44"/>
                    <a:pt x="6" y="44"/>
                    <a:pt x="7" y="45"/>
                  </a:cubicBezTo>
                  <a:cubicBezTo>
                    <a:pt x="8" y="45"/>
                    <a:pt x="9" y="45"/>
                    <a:pt x="10" y="45"/>
                  </a:cubicBezTo>
                  <a:cubicBezTo>
                    <a:pt x="14" y="45"/>
                    <a:pt x="18" y="42"/>
                    <a:pt x="21" y="36"/>
                  </a:cubicBezTo>
                  <a:cubicBezTo>
                    <a:pt x="25" y="26"/>
                    <a:pt x="34" y="19"/>
                    <a:pt x="41" y="11"/>
                  </a:cubicBezTo>
                  <a:cubicBezTo>
                    <a:pt x="43" y="7"/>
                    <a:pt x="46" y="4"/>
                    <a:pt x="45" y="2"/>
                  </a:cubicBezTo>
                  <a:cubicBezTo>
                    <a:pt x="44" y="1"/>
                    <a:pt x="44" y="0"/>
                    <a:pt x="43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íṣľîḍè"/>
            <p:cNvSpPr/>
            <p:nvPr/>
          </p:nvSpPr>
          <p:spPr bwMode="auto">
            <a:xfrm>
              <a:off x="4441825" y="3418682"/>
              <a:ext cx="0" cy="57150"/>
            </a:xfrm>
            <a:custGeom>
              <a:avLst/>
              <a:gdLst>
                <a:gd name="T0" fmla="*/ 17 h 17"/>
                <a:gd name="T1" fmla="*/ 16 h 17"/>
                <a:gd name="T2" fmla="*/ 16 h 17"/>
                <a:gd name="T3" fmla="*/ 14 h 17"/>
                <a:gd name="T4" fmla="*/ 13 h 17"/>
                <a:gd name="T5" fmla="*/ 13 h 17"/>
                <a:gd name="T6" fmla="*/ 13 h 17"/>
                <a:gd name="T7" fmla="*/ 12 h 17"/>
                <a:gd name="T8" fmla="*/ 12 h 17"/>
                <a:gd name="T9" fmla="*/ 12 h 17"/>
                <a:gd name="T10" fmla="*/ 11 h 17"/>
                <a:gd name="T11" fmla="*/ 11 h 17"/>
                <a:gd name="T12" fmla="*/ 10 h 17"/>
                <a:gd name="T13" fmla="*/ 10 h 17"/>
                <a:gd name="T14" fmla="*/ 10 h 17"/>
                <a:gd name="T15" fmla="*/ 9 h 17"/>
                <a:gd name="T16" fmla="*/ 8 h 17"/>
                <a:gd name="T17" fmla="*/ 8 h 17"/>
                <a:gd name="T18" fmla="*/ 7 h 17"/>
                <a:gd name="T19" fmla="*/ 7 h 17"/>
                <a:gd name="T20" fmla="*/ 7 h 17"/>
                <a:gd name="T21" fmla="*/ 6 h 17"/>
                <a:gd name="T22" fmla="*/ 6 h 17"/>
                <a:gd name="T23" fmla="*/ 6 h 17"/>
                <a:gd name="T24" fmla="*/ 5 h 17"/>
                <a:gd name="T25" fmla="*/ 4 h 17"/>
                <a:gd name="T26" fmla="*/ 4 h 17"/>
                <a:gd name="T27" fmla="*/ 4 h 17"/>
                <a:gd name="T28" fmla="*/ 3 h 17"/>
                <a:gd name="T29" fmla="*/ 3 h 17"/>
                <a:gd name="T30" fmla="*/ 2 h 17"/>
                <a:gd name="T31" fmla="*/ 2 h 17"/>
                <a:gd name="T32" fmla="*/ 2 h 17"/>
                <a:gd name="T33" fmla="*/ 1 h 17"/>
                <a:gd name="T34" fmla="*/ 0 h 17"/>
                <a:gd name="T35" fmla="*/ 0 h 1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  <a:cxn ang="0">
                  <a:pos x="0" y="T26"/>
                </a:cxn>
                <a:cxn ang="0">
                  <a:pos x="0" y="T27"/>
                </a:cxn>
                <a:cxn ang="0">
                  <a:pos x="0" y="T28"/>
                </a:cxn>
                <a:cxn ang="0">
                  <a:pos x="0" y="T29"/>
                </a:cxn>
                <a:cxn ang="0">
                  <a:pos x="0" y="T30"/>
                </a:cxn>
                <a:cxn ang="0">
                  <a:pos x="0" y="T31"/>
                </a:cxn>
                <a:cxn ang="0">
                  <a:pos x="0" y="T32"/>
                </a:cxn>
                <a:cxn ang="0">
                  <a:pos x="0" y="T33"/>
                </a:cxn>
                <a:cxn ang="0">
                  <a:pos x="0" y="T34"/>
                </a:cxn>
                <a:cxn ang="0">
                  <a:pos x="0" y="T35"/>
                </a:cxn>
              </a:cxnLst>
              <a:rect l="0" t="0" r="r" b="b"/>
              <a:pathLst>
                <a:path h="17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moveTo>
                    <a:pt x="0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moveTo>
                    <a:pt x="0" y="14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moveTo>
                    <a:pt x="0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moveTo>
                    <a:pt x="0" y="11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1"/>
                  </a:cubicBezTo>
                  <a:moveTo>
                    <a:pt x="0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3F2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îšḻiḓe"/>
            <p:cNvSpPr/>
            <p:nvPr/>
          </p:nvSpPr>
          <p:spPr bwMode="auto">
            <a:xfrm>
              <a:off x="4441825" y="2724944"/>
              <a:ext cx="1095375" cy="2200275"/>
            </a:xfrm>
            <a:custGeom>
              <a:avLst/>
              <a:gdLst>
                <a:gd name="T0" fmla="*/ 250 w 332"/>
                <a:gd name="T1" fmla="*/ 225 h 668"/>
                <a:gd name="T2" fmla="*/ 306 w 332"/>
                <a:gd name="T3" fmla="*/ 188 h 668"/>
                <a:gd name="T4" fmla="*/ 314 w 332"/>
                <a:gd name="T5" fmla="*/ 185 h 668"/>
                <a:gd name="T6" fmla="*/ 62 w 332"/>
                <a:gd name="T7" fmla="*/ 439 h 668"/>
                <a:gd name="T8" fmla="*/ 79 w 332"/>
                <a:gd name="T9" fmla="*/ 391 h 668"/>
                <a:gd name="T10" fmla="*/ 86 w 332"/>
                <a:gd name="T11" fmla="*/ 469 h 668"/>
                <a:gd name="T12" fmla="*/ 0 w 332"/>
                <a:gd name="T13" fmla="*/ 214 h 668"/>
                <a:gd name="T14" fmla="*/ 10 w 332"/>
                <a:gd name="T15" fmla="*/ 217 h 668"/>
                <a:gd name="T16" fmla="*/ 52 w 332"/>
                <a:gd name="T17" fmla="*/ 241 h 668"/>
                <a:gd name="T18" fmla="*/ 73 w 332"/>
                <a:gd name="T19" fmla="*/ 240 h 668"/>
                <a:gd name="T20" fmla="*/ 13 w 332"/>
                <a:gd name="T21" fmla="*/ 327 h 668"/>
                <a:gd name="T22" fmla="*/ 0 w 332"/>
                <a:gd name="T23" fmla="*/ 211 h 668"/>
                <a:gd name="T24" fmla="*/ 0 w 332"/>
                <a:gd name="T25" fmla="*/ 213 h 668"/>
                <a:gd name="T26" fmla="*/ 0 w 332"/>
                <a:gd name="T27" fmla="*/ 213 h 668"/>
                <a:gd name="T28" fmla="*/ 0 w 332"/>
                <a:gd name="T29" fmla="*/ 214 h 668"/>
                <a:gd name="T30" fmla="*/ 0 w 332"/>
                <a:gd name="T31" fmla="*/ 215 h 668"/>
                <a:gd name="T32" fmla="*/ 0 w 332"/>
                <a:gd name="T33" fmla="*/ 216 h 668"/>
                <a:gd name="T34" fmla="*/ 0 w 332"/>
                <a:gd name="T35" fmla="*/ 217 h 668"/>
                <a:gd name="T36" fmla="*/ 0 w 332"/>
                <a:gd name="T37" fmla="*/ 218 h 668"/>
                <a:gd name="T38" fmla="*/ 0 w 332"/>
                <a:gd name="T39" fmla="*/ 218 h 668"/>
                <a:gd name="T40" fmla="*/ 0 w 332"/>
                <a:gd name="T41" fmla="*/ 220 h 668"/>
                <a:gd name="T42" fmla="*/ 0 w 332"/>
                <a:gd name="T43" fmla="*/ 221 h 668"/>
                <a:gd name="T44" fmla="*/ 0 w 332"/>
                <a:gd name="T45" fmla="*/ 222 h 668"/>
                <a:gd name="T46" fmla="*/ 0 w 332"/>
                <a:gd name="T47" fmla="*/ 223 h 668"/>
                <a:gd name="T48" fmla="*/ 0 w 332"/>
                <a:gd name="T49" fmla="*/ 224 h 668"/>
                <a:gd name="T50" fmla="*/ 0 w 332"/>
                <a:gd name="T51" fmla="*/ 224 h 668"/>
                <a:gd name="T52" fmla="*/ 0 w 332"/>
                <a:gd name="T53" fmla="*/ 227 h 668"/>
                <a:gd name="T54" fmla="*/ 0 w 332"/>
                <a:gd name="T55" fmla="*/ 228 h 668"/>
                <a:gd name="T56" fmla="*/ 141 w 332"/>
                <a:gd name="T57" fmla="*/ 461 h 668"/>
                <a:gd name="T58" fmla="*/ 205 w 332"/>
                <a:gd name="T59" fmla="*/ 215 h 668"/>
                <a:gd name="T60" fmla="*/ 197 w 332"/>
                <a:gd name="T61" fmla="*/ 181 h 668"/>
                <a:gd name="T62" fmla="*/ 190 w 332"/>
                <a:gd name="T63" fmla="*/ 187 h 668"/>
                <a:gd name="T64" fmla="*/ 184 w 332"/>
                <a:gd name="T65" fmla="*/ 175 h 668"/>
                <a:gd name="T66" fmla="*/ 120 w 332"/>
                <a:gd name="T67" fmla="*/ 153 h 668"/>
                <a:gd name="T68" fmla="*/ 100 w 332"/>
                <a:gd name="T69" fmla="*/ 141 h 668"/>
                <a:gd name="T70" fmla="*/ 64 w 332"/>
                <a:gd name="T71" fmla="*/ 118 h 668"/>
                <a:gd name="T72" fmla="*/ 52 w 332"/>
                <a:gd name="T73" fmla="*/ 126 h 668"/>
                <a:gd name="T74" fmla="*/ 79 w 332"/>
                <a:gd name="T75" fmla="*/ 161 h 668"/>
                <a:gd name="T76" fmla="*/ 101 w 332"/>
                <a:gd name="T77" fmla="*/ 155 h 668"/>
                <a:gd name="T78" fmla="*/ 111 w 332"/>
                <a:gd name="T79" fmla="*/ 189 h 668"/>
                <a:gd name="T80" fmla="*/ 31 w 332"/>
                <a:gd name="T81" fmla="*/ 225 h 668"/>
                <a:gd name="T82" fmla="*/ 11 w 332"/>
                <a:gd name="T83" fmla="*/ 188 h 668"/>
                <a:gd name="T84" fmla="*/ 131 w 332"/>
                <a:gd name="T85" fmla="*/ 10 h 668"/>
                <a:gd name="T86" fmla="*/ 126 w 332"/>
                <a:gd name="T87" fmla="*/ 24 h 668"/>
                <a:gd name="T88" fmla="*/ 131 w 332"/>
                <a:gd name="T89" fmla="*/ 10 h 668"/>
                <a:gd name="T90" fmla="*/ 60 w 332"/>
                <a:gd name="T91" fmla="*/ 6 h 668"/>
                <a:gd name="T92" fmla="*/ 62 w 332"/>
                <a:gd name="T93" fmla="*/ 54 h 668"/>
                <a:gd name="T94" fmla="*/ 79 w 332"/>
                <a:gd name="T95" fmla="*/ 72 h 668"/>
                <a:gd name="T96" fmla="*/ 85 w 332"/>
                <a:gd name="T97" fmla="*/ 50 h 668"/>
                <a:gd name="T98" fmla="*/ 92 w 332"/>
                <a:gd name="T99" fmla="*/ 42 h 668"/>
                <a:gd name="T100" fmla="*/ 86 w 332"/>
                <a:gd name="T101" fmla="*/ 39 h 668"/>
                <a:gd name="T102" fmla="*/ 75 w 332"/>
                <a:gd name="T103" fmla="*/ 25 h 668"/>
                <a:gd name="T104" fmla="*/ 82 w 332"/>
                <a:gd name="T105" fmla="*/ 0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2" h="668">
                  <a:moveTo>
                    <a:pt x="250" y="225"/>
                  </a:moveTo>
                  <a:cubicBezTo>
                    <a:pt x="247" y="228"/>
                    <a:pt x="245" y="231"/>
                    <a:pt x="245" y="235"/>
                  </a:cubicBezTo>
                  <a:cubicBezTo>
                    <a:pt x="250" y="225"/>
                    <a:pt x="250" y="225"/>
                    <a:pt x="250" y="225"/>
                  </a:cubicBezTo>
                  <a:moveTo>
                    <a:pt x="314" y="185"/>
                  </a:moveTo>
                  <a:cubicBezTo>
                    <a:pt x="313" y="185"/>
                    <a:pt x="312" y="186"/>
                    <a:pt x="310" y="186"/>
                  </a:cubicBezTo>
                  <a:cubicBezTo>
                    <a:pt x="309" y="187"/>
                    <a:pt x="308" y="188"/>
                    <a:pt x="306" y="188"/>
                  </a:cubicBezTo>
                  <a:cubicBezTo>
                    <a:pt x="332" y="208"/>
                    <a:pt x="332" y="208"/>
                    <a:pt x="332" y="208"/>
                  </a:cubicBezTo>
                  <a:cubicBezTo>
                    <a:pt x="328" y="200"/>
                    <a:pt x="320" y="194"/>
                    <a:pt x="316" y="186"/>
                  </a:cubicBezTo>
                  <a:cubicBezTo>
                    <a:pt x="315" y="185"/>
                    <a:pt x="315" y="185"/>
                    <a:pt x="314" y="185"/>
                  </a:cubicBezTo>
                  <a:moveTo>
                    <a:pt x="79" y="471"/>
                  </a:moveTo>
                  <a:cubicBezTo>
                    <a:pt x="75" y="471"/>
                    <a:pt x="72" y="469"/>
                    <a:pt x="68" y="463"/>
                  </a:cubicBezTo>
                  <a:cubicBezTo>
                    <a:pt x="63" y="455"/>
                    <a:pt x="59" y="447"/>
                    <a:pt x="62" y="439"/>
                  </a:cubicBezTo>
                  <a:cubicBezTo>
                    <a:pt x="64" y="436"/>
                    <a:pt x="61" y="431"/>
                    <a:pt x="60" y="427"/>
                  </a:cubicBezTo>
                  <a:cubicBezTo>
                    <a:pt x="57" y="418"/>
                    <a:pt x="59" y="412"/>
                    <a:pt x="67" y="409"/>
                  </a:cubicBezTo>
                  <a:cubicBezTo>
                    <a:pt x="75" y="407"/>
                    <a:pt x="80" y="401"/>
                    <a:pt x="79" y="391"/>
                  </a:cubicBezTo>
                  <a:cubicBezTo>
                    <a:pt x="86" y="399"/>
                    <a:pt x="89" y="406"/>
                    <a:pt x="88" y="412"/>
                  </a:cubicBezTo>
                  <a:cubicBezTo>
                    <a:pt x="86" y="429"/>
                    <a:pt x="89" y="448"/>
                    <a:pt x="87" y="464"/>
                  </a:cubicBezTo>
                  <a:cubicBezTo>
                    <a:pt x="87" y="466"/>
                    <a:pt x="87" y="469"/>
                    <a:pt x="86" y="469"/>
                  </a:cubicBezTo>
                  <a:cubicBezTo>
                    <a:pt x="83" y="471"/>
                    <a:pt x="81" y="471"/>
                    <a:pt x="79" y="471"/>
                  </a:cubicBezTo>
                  <a:moveTo>
                    <a:pt x="13" y="327"/>
                  </a:moveTo>
                  <a:cubicBezTo>
                    <a:pt x="5" y="291"/>
                    <a:pt x="0" y="253"/>
                    <a:pt x="0" y="214"/>
                  </a:cubicBezTo>
                  <a:cubicBezTo>
                    <a:pt x="0" y="206"/>
                    <a:pt x="0" y="198"/>
                    <a:pt x="1" y="191"/>
                  </a:cubicBezTo>
                  <a:cubicBezTo>
                    <a:pt x="1" y="195"/>
                    <a:pt x="0" y="200"/>
                    <a:pt x="0" y="204"/>
                  </a:cubicBezTo>
                  <a:cubicBezTo>
                    <a:pt x="4" y="208"/>
                    <a:pt x="7" y="213"/>
                    <a:pt x="10" y="217"/>
                  </a:cubicBezTo>
                  <a:cubicBezTo>
                    <a:pt x="15" y="223"/>
                    <a:pt x="19" y="229"/>
                    <a:pt x="24" y="234"/>
                  </a:cubicBezTo>
                  <a:cubicBezTo>
                    <a:pt x="29" y="241"/>
                    <a:pt x="35" y="242"/>
                    <a:pt x="42" y="242"/>
                  </a:cubicBezTo>
                  <a:cubicBezTo>
                    <a:pt x="45" y="242"/>
                    <a:pt x="49" y="242"/>
                    <a:pt x="52" y="241"/>
                  </a:cubicBezTo>
                  <a:cubicBezTo>
                    <a:pt x="59" y="241"/>
                    <a:pt x="66" y="240"/>
                    <a:pt x="73" y="240"/>
                  </a:cubicBezTo>
                  <a:cubicBezTo>
                    <a:pt x="73" y="240"/>
                    <a:pt x="73" y="240"/>
                    <a:pt x="73" y="240"/>
                  </a:cubicBezTo>
                  <a:cubicBezTo>
                    <a:pt x="73" y="240"/>
                    <a:pt x="73" y="240"/>
                    <a:pt x="73" y="240"/>
                  </a:cubicBezTo>
                  <a:cubicBezTo>
                    <a:pt x="68" y="255"/>
                    <a:pt x="63" y="270"/>
                    <a:pt x="54" y="283"/>
                  </a:cubicBezTo>
                  <a:cubicBezTo>
                    <a:pt x="49" y="290"/>
                    <a:pt x="43" y="297"/>
                    <a:pt x="35" y="302"/>
                  </a:cubicBezTo>
                  <a:cubicBezTo>
                    <a:pt x="25" y="308"/>
                    <a:pt x="18" y="317"/>
                    <a:pt x="13" y="327"/>
                  </a:cubicBezTo>
                  <a:moveTo>
                    <a:pt x="18" y="81"/>
                  </a:moveTo>
                  <a:cubicBezTo>
                    <a:pt x="7" y="122"/>
                    <a:pt x="0" y="166"/>
                    <a:pt x="0" y="211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11"/>
                    <a:pt x="0" y="212"/>
                    <a:pt x="0" y="212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0" y="212"/>
                    <a:pt x="0" y="212"/>
                    <a:pt x="0" y="213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3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5"/>
                    <a:pt x="0" y="215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16"/>
                    <a:pt x="0" y="216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8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0" y="219"/>
                    <a:pt x="0" y="220"/>
                    <a:pt x="0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20"/>
                    <a:pt x="0" y="221"/>
                    <a:pt x="0" y="22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0" y="223"/>
                    <a:pt x="0" y="223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26"/>
                    <a:pt x="0" y="226"/>
                    <a:pt x="0" y="22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27"/>
                    <a:pt x="0" y="227"/>
                    <a:pt x="0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5" y="423"/>
                    <a:pt x="122" y="590"/>
                    <a:pt x="288" y="668"/>
                  </a:cubicBezTo>
                  <a:cubicBezTo>
                    <a:pt x="221" y="624"/>
                    <a:pt x="166" y="564"/>
                    <a:pt x="126" y="493"/>
                  </a:cubicBezTo>
                  <a:cubicBezTo>
                    <a:pt x="141" y="461"/>
                    <a:pt x="141" y="461"/>
                    <a:pt x="141" y="461"/>
                  </a:cubicBezTo>
                  <a:cubicBezTo>
                    <a:pt x="230" y="268"/>
                    <a:pt x="230" y="268"/>
                    <a:pt x="230" y="268"/>
                  </a:cubicBezTo>
                  <a:cubicBezTo>
                    <a:pt x="229" y="267"/>
                    <a:pt x="228" y="265"/>
                    <a:pt x="227" y="264"/>
                  </a:cubicBezTo>
                  <a:cubicBezTo>
                    <a:pt x="218" y="248"/>
                    <a:pt x="211" y="232"/>
                    <a:pt x="205" y="215"/>
                  </a:cubicBezTo>
                  <a:cubicBezTo>
                    <a:pt x="202" y="209"/>
                    <a:pt x="202" y="203"/>
                    <a:pt x="202" y="197"/>
                  </a:cubicBezTo>
                  <a:cubicBezTo>
                    <a:pt x="202" y="194"/>
                    <a:pt x="202" y="190"/>
                    <a:pt x="201" y="187"/>
                  </a:cubicBezTo>
                  <a:cubicBezTo>
                    <a:pt x="200" y="184"/>
                    <a:pt x="200" y="181"/>
                    <a:pt x="197" y="181"/>
                  </a:cubicBezTo>
                  <a:cubicBezTo>
                    <a:pt x="197" y="180"/>
                    <a:pt x="197" y="180"/>
                    <a:pt x="197" y="180"/>
                  </a:cubicBezTo>
                  <a:cubicBezTo>
                    <a:pt x="195" y="180"/>
                    <a:pt x="195" y="183"/>
                    <a:pt x="194" y="185"/>
                  </a:cubicBezTo>
                  <a:cubicBezTo>
                    <a:pt x="193" y="186"/>
                    <a:pt x="191" y="187"/>
                    <a:pt x="190" y="187"/>
                  </a:cubicBezTo>
                  <a:cubicBezTo>
                    <a:pt x="188" y="187"/>
                    <a:pt x="187" y="187"/>
                    <a:pt x="185" y="185"/>
                  </a:cubicBezTo>
                  <a:cubicBezTo>
                    <a:pt x="182" y="183"/>
                    <a:pt x="182" y="181"/>
                    <a:pt x="186" y="179"/>
                  </a:cubicBezTo>
                  <a:cubicBezTo>
                    <a:pt x="190" y="178"/>
                    <a:pt x="187" y="176"/>
                    <a:pt x="184" y="175"/>
                  </a:cubicBezTo>
                  <a:cubicBezTo>
                    <a:pt x="176" y="171"/>
                    <a:pt x="169" y="166"/>
                    <a:pt x="162" y="161"/>
                  </a:cubicBezTo>
                  <a:cubicBezTo>
                    <a:pt x="156" y="155"/>
                    <a:pt x="146" y="157"/>
                    <a:pt x="138" y="155"/>
                  </a:cubicBezTo>
                  <a:cubicBezTo>
                    <a:pt x="132" y="154"/>
                    <a:pt x="126" y="154"/>
                    <a:pt x="120" y="153"/>
                  </a:cubicBezTo>
                  <a:cubicBezTo>
                    <a:pt x="114" y="151"/>
                    <a:pt x="109" y="149"/>
                    <a:pt x="107" y="144"/>
                  </a:cubicBezTo>
                  <a:cubicBezTo>
                    <a:pt x="105" y="142"/>
                    <a:pt x="104" y="141"/>
                    <a:pt x="101" y="141"/>
                  </a:cubicBezTo>
                  <a:cubicBezTo>
                    <a:pt x="101" y="141"/>
                    <a:pt x="100" y="141"/>
                    <a:pt x="100" y="141"/>
                  </a:cubicBezTo>
                  <a:cubicBezTo>
                    <a:pt x="99" y="141"/>
                    <a:pt x="98" y="141"/>
                    <a:pt x="97" y="141"/>
                  </a:cubicBezTo>
                  <a:cubicBezTo>
                    <a:pt x="85" y="141"/>
                    <a:pt x="76" y="135"/>
                    <a:pt x="69" y="125"/>
                  </a:cubicBezTo>
                  <a:cubicBezTo>
                    <a:pt x="68" y="122"/>
                    <a:pt x="66" y="120"/>
                    <a:pt x="64" y="118"/>
                  </a:cubicBezTo>
                  <a:cubicBezTo>
                    <a:pt x="61" y="117"/>
                    <a:pt x="59" y="115"/>
                    <a:pt x="56" y="115"/>
                  </a:cubicBezTo>
                  <a:cubicBezTo>
                    <a:pt x="54" y="115"/>
                    <a:pt x="53" y="116"/>
                    <a:pt x="51" y="117"/>
                  </a:cubicBezTo>
                  <a:cubicBezTo>
                    <a:pt x="47" y="120"/>
                    <a:pt x="50" y="123"/>
                    <a:pt x="52" y="126"/>
                  </a:cubicBezTo>
                  <a:cubicBezTo>
                    <a:pt x="59" y="136"/>
                    <a:pt x="64" y="147"/>
                    <a:pt x="70" y="158"/>
                  </a:cubicBezTo>
                  <a:cubicBezTo>
                    <a:pt x="72" y="161"/>
                    <a:pt x="74" y="162"/>
                    <a:pt x="76" y="162"/>
                  </a:cubicBezTo>
                  <a:cubicBezTo>
                    <a:pt x="77" y="162"/>
                    <a:pt x="78" y="161"/>
                    <a:pt x="79" y="161"/>
                  </a:cubicBezTo>
                  <a:cubicBezTo>
                    <a:pt x="85" y="160"/>
                    <a:pt x="91" y="158"/>
                    <a:pt x="95" y="153"/>
                  </a:cubicBezTo>
                  <a:cubicBezTo>
                    <a:pt x="97" y="152"/>
                    <a:pt x="98" y="151"/>
                    <a:pt x="99" y="151"/>
                  </a:cubicBezTo>
                  <a:cubicBezTo>
                    <a:pt x="100" y="151"/>
                    <a:pt x="101" y="152"/>
                    <a:pt x="101" y="155"/>
                  </a:cubicBezTo>
                  <a:cubicBezTo>
                    <a:pt x="103" y="161"/>
                    <a:pt x="110" y="165"/>
                    <a:pt x="115" y="168"/>
                  </a:cubicBezTo>
                  <a:cubicBezTo>
                    <a:pt x="120" y="172"/>
                    <a:pt x="123" y="174"/>
                    <a:pt x="118" y="179"/>
                  </a:cubicBezTo>
                  <a:cubicBezTo>
                    <a:pt x="115" y="182"/>
                    <a:pt x="114" y="186"/>
                    <a:pt x="111" y="189"/>
                  </a:cubicBezTo>
                  <a:cubicBezTo>
                    <a:pt x="102" y="202"/>
                    <a:pt x="87" y="207"/>
                    <a:pt x="72" y="212"/>
                  </a:cubicBezTo>
                  <a:cubicBezTo>
                    <a:pt x="60" y="217"/>
                    <a:pt x="47" y="220"/>
                    <a:pt x="35" y="224"/>
                  </a:cubicBezTo>
                  <a:cubicBezTo>
                    <a:pt x="33" y="225"/>
                    <a:pt x="32" y="225"/>
                    <a:pt x="31" y="225"/>
                  </a:cubicBezTo>
                  <a:cubicBezTo>
                    <a:pt x="27" y="225"/>
                    <a:pt x="25" y="223"/>
                    <a:pt x="23" y="219"/>
                  </a:cubicBezTo>
                  <a:cubicBezTo>
                    <a:pt x="21" y="214"/>
                    <a:pt x="20" y="209"/>
                    <a:pt x="20" y="205"/>
                  </a:cubicBezTo>
                  <a:cubicBezTo>
                    <a:pt x="19" y="198"/>
                    <a:pt x="16" y="193"/>
                    <a:pt x="11" y="188"/>
                  </a:cubicBezTo>
                  <a:cubicBezTo>
                    <a:pt x="7" y="184"/>
                    <a:pt x="4" y="180"/>
                    <a:pt x="2" y="177"/>
                  </a:cubicBezTo>
                  <a:cubicBezTo>
                    <a:pt x="4" y="144"/>
                    <a:pt x="10" y="112"/>
                    <a:pt x="18" y="81"/>
                  </a:cubicBezTo>
                  <a:moveTo>
                    <a:pt x="131" y="10"/>
                  </a:moveTo>
                  <a:cubicBezTo>
                    <a:pt x="128" y="10"/>
                    <a:pt x="123" y="15"/>
                    <a:pt x="122" y="19"/>
                  </a:cubicBezTo>
                  <a:cubicBezTo>
                    <a:pt x="122" y="21"/>
                    <a:pt x="123" y="24"/>
                    <a:pt x="125" y="24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31" y="23"/>
                    <a:pt x="132" y="19"/>
                    <a:pt x="133" y="15"/>
                  </a:cubicBezTo>
                  <a:cubicBezTo>
                    <a:pt x="133" y="13"/>
                    <a:pt x="134" y="11"/>
                    <a:pt x="131" y="10"/>
                  </a:cubicBezTo>
                  <a:cubicBezTo>
                    <a:pt x="131" y="10"/>
                    <a:pt x="131" y="10"/>
                    <a:pt x="131" y="10"/>
                  </a:cubicBezTo>
                  <a:moveTo>
                    <a:pt x="82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74" y="0"/>
                    <a:pt x="66" y="1"/>
                    <a:pt x="60" y="6"/>
                  </a:cubicBezTo>
                  <a:cubicBezTo>
                    <a:pt x="56" y="8"/>
                    <a:pt x="55" y="11"/>
                    <a:pt x="55" y="15"/>
                  </a:cubicBezTo>
                  <a:cubicBezTo>
                    <a:pt x="56" y="22"/>
                    <a:pt x="57" y="30"/>
                    <a:pt x="62" y="36"/>
                  </a:cubicBezTo>
                  <a:cubicBezTo>
                    <a:pt x="68" y="43"/>
                    <a:pt x="65" y="48"/>
                    <a:pt x="62" y="54"/>
                  </a:cubicBezTo>
                  <a:cubicBezTo>
                    <a:pt x="58" y="63"/>
                    <a:pt x="64" y="71"/>
                    <a:pt x="76" y="72"/>
                  </a:cubicBezTo>
                  <a:cubicBezTo>
                    <a:pt x="76" y="72"/>
                    <a:pt x="78" y="72"/>
                    <a:pt x="79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3" y="72"/>
                    <a:pt x="87" y="71"/>
                    <a:pt x="87" y="68"/>
                  </a:cubicBezTo>
                  <a:cubicBezTo>
                    <a:pt x="89" y="62"/>
                    <a:pt x="90" y="56"/>
                    <a:pt x="85" y="50"/>
                  </a:cubicBezTo>
                  <a:cubicBezTo>
                    <a:pt x="81" y="45"/>
                    <a:pt x="83" y="44"/>
                    <a:pt x="88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91" y="44"/>
                    <a:pt x="92" y="44"/>
                    <a:pt x="92" y="42"/>
                  </a:cubicBezTo>
                  <a:cubicBezTo>
                    <a:pt x="92" y="41"/>
                    <a:pt x="91" y="39"/>
                    <a:pt x="89" y="38"/>
                  </a:cubicBezTo>
                  <a:cubicBezTo>
                    <a:pt x="89" y="37"/>
                    <a:pt x="88" y="37"/>
                    <a:pt x="88" y="37"/>
                  </a:cubicBezTo>
                  <a:cubicBezTo>
                    <a:pt x="87" y="37"/>
                    <a:pt x="86" y="38"/>
                    <a:pt x="86" y="39"/>
                  </a:cubicBezTo>
                  <a:cubicBezTo>
                    <a:pt x="84" y="40"/>
                    <a:pt x="83" y="40"/>
                    <a:pt x="82" y="40"/>
                  </a:cubicBezTo>
                  <a:cubicBezTo>
                    <a:pt x="81" y="40"/>
                    <a:pt x="80" y="38"/>
                    <a:pt x="80" y="36"/>
                  </a:cubicBezTo>
                  <a:cubicBezTo>
                    <a:pt x="81" y="32"/>
                    <a:pt x="78" y="28"/>
                    <a:pt x="75" y="25"/>
                  </a:cubicBezTo>
                  <a:cubicBezTo>
                    <a:pt x="70" y="18"/>
                    <a:pt x="74" y="10"/>
                    <a:pt x="82" y="9"/>
                  </a:cubicBezTo>
                  <a:cubicBezTo>
                    <a:pt x="86" y="9"/>
                    <a:pt x="87" y="8"/>
                    <a:pt x="87" y="5"/>
                  </a:cubicBezTo>
                  <a:cubicBezTo>
                    <a:pt x="87" y="2"/>
                    <a:pt x="85" y="0"/>
                    <a:pt x="82" y="0"/>
                  </a:cubicBezTo>
                </a:path>
              </a:pathLst>
            </a:custGeom>
            <a:solidFill>
              <a:srgbClr val="1EB2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ŝḷïḍe"/>
            <p:cNvSpPr/>
            <p:nvPr/>
          </p:nvSpPr>
          <p:spPr bwMode="auto">
            <a:xfrm>
              <a:off x="4448175" y="2336007"/>
              <a:ext cx="1147763" cy="1271588"/>
            </a:xfrm>
            <a:custGeom>
              <a:avLst/>
              <a:gdLst>
                <a:gd name="T0" fmla="*/ 120 w 348"/>
                <a:gd name="T1" fmla="*/ 137 h 386"/>
                <a:gd name="T2" fmla="*/ 129 w 348"/>
                <a:gd name="T3" fmla="*/ 128 h 386"/>
                <a:gd name="T4" fmla="*/ 124 w 348"/>
                <a:gd name="T5" fmla="*/ 142 h 386"/>
                <a:gd name="T6" fmla="*/ 74 w 348"/>
                <a:gd name="T7" fmla="*/ 190 h 386"/>
                <a:gd name="T8" fmla="*/ 60 w 348"/>
                <a:gd name="T9" fmla="*/ 154 h 386"/>
                <a:gd name="T10" fmla="*/ 58 w 348"/>
                <a:gd name="T11" fmla="*/ 124 h 386"/>
                <a:gd name="T12" fmla="*/ 80 w 348"/>
                <a:gd name="T13" fmla="*/ 118 h 386"/>
                <a:gd name="T14" fmla="*/ 80 w 348"/>
                <a:gd name="T15" fmla="*/ 127 h 386"/>
                <a:gd name="T16" fmla="*/ 78 w 348"/>
                <a:gd name="T17" fmla="*/ 154 h 386"/>
                <a:gd name="T18" fmla="*/ 84 w 348"/>
                <a:gd name="T19" fmla="*/ 157 h 386"/>
                <a:gd name="T20" fmla="*/ 87 w 348"/>
                <a:gd name="T21" fmla="*/ 156 h 386"/>
                <a:gd name="T22" fmla="*/ 87 w 348"/>
                <a:gd name="T23" fmla="*/ 162 h 386"/>
                <a:gd name="T24" fmla="*/ 83 w 348"/>
                <a:gd name="T25" fmla="*/ 168 h 386"/>
                <a:gd name="T26" fmla="*/ 78 w 348"/>
                <a:gd name="T27" fmla="*/ 190 h 386"/>
                <a:gd name="T28" fmla="*/ 77 w 348"/>
                <a:gd name="T29" fmla="*/ 190 h 386"/>
                <a:gd name="T30" fmla="*/ 287 w 348"/>
                <a:gd name="T31" fmla="*/ 0 h 386"/>
                <a:gd name="T32" fmla="*/ 102 w 348"/>
                <a:gd name="T33" fmla="*/ 26 h 386"/>
                <a:gd name="T34" fmla="*/ 33 w 348"/>
                <a:gd name="T35" fmla="*/ 149 h 386"/>
                <a:gd name="T36" fmla="*/ 28 w 348"/>
                <a:gd name="T37" fmla="*/ 162 h 386"/>
                <a:gd name="T38" fmla="*/ 23 w 348"/>
                <a:gd name="T39" fmla="*/ 175 h 386"/>
                <a:gd name="T40" fmla="*/ 18 w 348"/>
                <a:gd name="T41" fmla="*/ 191 h 386"/>
                <a:gd name="T42" fmla="*/ 16 w 348"/>
                <a:gd name="T43" fmla="*/ 199 h 386"/>
                <a:gd name="T44" fmla="*/ 9 w 348"/>
                <a:gd name="T45" fmla="*/ 306 h 386"/>
                <a:gd name="T46" fmla="*/ 21 w 348"/>
                <a:gd name="T47" fmla="*/ 337 h 386"/>
                <a:gd name="T48" fmla="*/ 33 w 348"/>
                <a:gd name="T49" fmla="*/ 342 h 386"/>
                <a:gd name="T50" fmla="*/ 109 w 348"/>
                <a:gd name="T51" fmla="*/ 307 h 386"/>
                <a:gd name="T52" fmla="*/ 113 w 348"/>
                <a:gd name="T53" fmla="*/ 286 h 386"/>
                <a:gd name="T54" fmla="*/ 97 w 348"/>
                <a:gd name="T55" fmla="*/ 269 h 386"/>
                <a:gd name="T56" fmla="*/ 77 w 348"/>
                <a:gd name="T57" fmla="*/ 279 h 386"/>
                <a:gd name="T58" fmla="*/ 68 w 348"/>
                <a:gd name="T59" fmla="*/ 276 h 386"/>
                <a:gd name="T60" fmla="*/ 49 w 348"/>
                <a:gd name="T61" fmla="*/ 235 h 386"/>
                <a:gd name="T62" fmla="*/ 62 w 348"/>
                <a:gd name="T63" fmla="*/ 236 h 386"/>
                <a:gd name="T64" fmla="*/ 95 w 348"/>
                <a:gd name="T65" fmla="*/ 259 h 386"/>
                <a:gd name="T66" fmla="*/ 99 w 348"/>
                <a:gd name="T67" fmla="*/ 259 h 386"/>
                <a:gd name="T68" fmla="*/ 118 w 348"/>
                <a:gd name="T69" fmla="*/ 271 h 386"/>
                <a:gd name="T70" fmla="*/ 160 w 348"/>
                <a:gd name="T71" fmla="*/ 279 h 386"/>
                <a:gd name="T72" fmla="*/ 184 w 348"/>
                <a:gd name="T73" fmla="*/ 297 h 386"/>
                <a:gd name="T74" fmla="*/ 188 w 348"/>
                <a:gd name="T75" fmla="*/ 305 h 386"/>
                <a:gd name="T76" fmla="*/ 195 w 348"/>
                <a:gd name="T77" fmla="*/ 298 h 386"/>
                <a:gd name="T78" fmla="*/ 199 w 348"/>
                <a:gd name="T79" fmla="*/ 305 h 386"/>
                <a:gd name="T80" fmla="*/ 203 w 348"/>
                <a:gd name="T81" fmla="*/ 333 h 386"/>
                <a:gd name="T82" fmla="*/ 228 w 348"/>
                <a:gd name="T83" fmla="*/ 386 h 386"/>
                <a:gd name="T84" fmla="*/ 248 w 348"/>
                <a:gd name="T85" fmla="*/ 343 h 386"/>
                <a:gd name="T86" fmla="*/ 304 w 348"/>
                <a:gd name="T87" fmla="*/ 306 h 386"/>
                <a:gd name="T88" fmla="*/ 312 w 348"/>
                <a:gd name="T89" fmla="*/ 303 h 386"/>
                <a:gd name="T90" fmla="*/ 330 w 348"/>
                <a:gd name="T91" fmla="*/ 326 h 386"/>
                <a:gd name="T92" fmla="*/ 287 w 348"/>
                <a:gd name="T9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8" h="386">
                  <a:moveTo>
                    <a:pt x="123" y="142"/>
                  </a:moveTo>
                  <a:cubicBezTo>
                    <a:pt x="121" y="142"/>
                    <a:pt x="120" y="139"/>
                    <a:pt x="120" y="137"/>
                  </a:cubicBezTo>
                  <a:cubicBezTo>
                    <a:pt x="121" y="133"/>
                    <a:pt x="126" y="128"/>
                    <a:pt x="129" y="128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32" y="129"/>
                    <a:pt x="131" y="131"/>
                    <a:pt x="131" y="133"/>
                  </a:cubicBezTo>
                  <a:cubicBezTo>
                    <a:pt x="130" y="137"/>
                    <a:pt x="129" y="141"/>
                    <a:pt x="124" y="142"/>
                  </a:cubicBezTo>
                  <a:cubicBezTo>
                    <a:pt x="124" y="142"/>
                    <a:pt x="124" y="142"/>
                    <a:pt x="123" y="142"/>
                  </a:cubicBezTo>
                  <a:moveTo>
                    <a:pt x="74" y="190"/>
                  </a:moveTo>
                  <a:cubicBezTo>
                    <a:pt x="62" y="189"/>
                    <a:pt x="56" y="181"/>
                    <a:pt x="60" y="172"/>
                  </a:cubicBezTo>
                  <a:cubicBezTo>
                    <a:pt x="63" y="166"/>
                    <a:pt x="66" y="161"/>
                    <a:pt x="60" y="154"/>
                  </a:cubicBezTo>
                  <a:cubicBezTo>
                    <a:pt x="55" y="148"/>
                    <a:pt x="54" y="140"/>
                    <a:pt x="53" y="133"/>
                  </a:cubicBezTo>
                  <a:cubicBezTo>
                    <a:pt x="53" y="129"/>
                    <a:pt x="54" y="126"/>
                    <a:pt x="58" y="124"/>
                  </a:cubicBezTo>
                  <a:cubicBezTo>
                    <a:pt x="64" y="119"/>
                    <a:pt x="72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3" y="118"/>
                    <a:pt x="85" y="120"/>
                    <a:pt x="85" y="123"/>
                  </a:cubicBezTo>
                  <a:cubicBezTo>
                    <a:pt x="85" y="126"/>
                    <a:pt x="84" y="127"/>
                    <a:pt x="80" y="127"/>
                  </a:cubicBezTo>
                  <a:cubicBezTo>
                    <a:pt x="72" y="128"/>
                    <a:pt x="68" y="136"/>
                    <a:pt x="73" y="143"/>
                  </a:cubicBezTo>
                  <a:cubicBezTo>
                    <a:pt x="76" y="146"/>
                    <a:pt x="79" y="150"/>
                    <a:pt x="78" y="154"/>
                  </a:cubicBezTo>
                  <a:cubicBezTo>
                    <a:pt x="78" y="156"/>
                    <a:pt x="79" y="158"/>
                    <a:pt x="80" y="158"/>
                  </a:cubicBezTo>
                  <a:cubicBezTo>
                    <a:pt x="81" y="158"/>
                    <a:pt x="82" y="158"/>
                    <a:pt x="84" y="157"/>
                  </a:cubicBezTo>
                  <a:cubicBezTo>
                    <a:pt x="84" y="156"/>
                    <a:pt x="85" y="155"/>
                    <a:pt x="86" y="155"/>
                  </a:cubicBezTo>
                  <a:cubicBezTo>
                    <a:pt x="86" y="155"/>
                    <a:pt x="87" y="155"/>
                    <a:pt x="87" y="156"/>
                  </a:cubicBezTo>
                  <a:cubicBezTo>
                    <a:pt x="89" y="157"/>
                    <a:pt x="90" y="159"/>
                    <a:pt x="90" y="160"/>
                  </a:cubicBezTo>
                  <a:cubicBezTo>
                    <a:pt x="90" y="162"/>
                    <a:pt x="89" y="162"/>
                    <a:pt x="87" y="162"/>
                  </a:cubicBezTo>
                  <a:cubicBezTo>
                    <a:pt x="87" y="162"/>
                    <a:pt x="87" y="162"/>
                    <a:pt x="86" y="162"/>
                  </a:cubicBezTo>
                  <a:cubicBezTo>
                    <a:pt x="81" y="162"/>
                    <a:pt x="79" y="163"/>
                    <a:pt x="83" y="168"/>
                  </a:cubicBezTo>
                  <a:cubicBezTo>
                    <a:pt x="88" y="174"/>
                    <a:pt x="87" y="180"/>
                    <a:pt x="85" y="186"/>
                  </a:cubicBezTo>
                  <a:cubicBezTo>
                    <a:pt x="85" y="189"/>
                    <a:pt x="81" y="190"/>
                    <a:pt x="78" y="190"/>
                  </a:cubicBezTo>
                  <a:cubicBezTo>
                    <a:pt x="78" y="190"/>
                    <a:pt x="78" y="190"/>
                    <a:pt x="77" y="190"/>
                  </a:cubicBezTo>
                  <a:cubicBezTo>
                    <a:pt x="77" y="190"/>
                    <a:pt x="77" y="190"/>
                    <a:pt x="77" y="190"/>
                  </a:cubicBezTo>
                  <a:cubicBezTo>
                    <a:pt x="76" y="190"/>
                    <a:pt x="74" y="190"/>
                    <a:pt x="74" y="190"/>
                  </a:cubicBezTo>
                  <a:moveTo>
                    <a:pt x="287" y="0"/>
                  </a:moveTo>
                  <a:cubicBezTo>
                    <a:pt x="211" y="11"/>
                    <a:pt x="211" y="11"/>
                    <a:pt x="211" y="11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74" y="63"/>
                    <a:pt x="51" y="103"/>
                    <a:pt x="33" y="147"/>
                  </a:cubicBezTo>
                  <a:cubicBezTo>
                    <a:pt x="33" y="148"/>
                    <a:pt x="33" y="148"/>
                    <a:pt x="33" y="149"/>
                  </a:cubicBezTo>
                  <a:cubicBezTo>
                    <a:pt x="32" y="151"/>
                    <a:pt x="31" y="154"/>
                    <a:pt x="30" y="157"/>
                  </a:cubicBezTo>
                  <a:cubicBezTo>
                    <a:pt x="29" y="159"/>
                    <a:pt x="28" y="160"/>
                    <a:pt x="28" y="162"/>
                  </a:cubicBezTo>
                  <a:cubicBezTo>
                    <a:pt x="27" y="164"/>
                    <a:pt x="26" y="166"/>
                    <a:pt x="25" y="169"/>
                  </a:cubicBezTo>
                  <a:cubicBezTo>
                    <a:pt x="25" y="171"/>
                    <a:pt x="24" y="173"/>
                    <a:pt x="23" y="175"/>
                  </a:cubicBezTo>
                  <a:cubicBezTo>
                    <a:pt x="23" y="177"/>
                    <a:pt x="22" y="179"/>
                    <a:pt x="21" y="181"/>
                  </a:cubicBezTo>
                  <a:cubicBezTo>
                    <a:pt x="20" y="184"/>
                    <a:pt x="19" y="188"/>
                    <a:pt x="18" y="191"/>
                  </a:cubicBezTo>
                  <a:cubicBezTo>
                    <a:pt x="18" y="192"/>
                    <a:pt x="18" y="193"/>
                    <a:pt x="18" y="193"/>
                  </a:cubicBezTo>
                  <a:cubicBezTo>
                    <a:pt x="17" y="195"/>
                    <a:pt x="17" y="197"/>
                    <a:pt x="16" y="199"/>
                  </a:cubicBezTo>
                  <a:cubicBezTo>
                    <a:pt x="8" y="230"/>
                    <a:pt x="2" y="262"/>
                    <a:pt x="0" y="295"/>
                  </a:cubicBezTo>
                  <a:cubicBezTo>
                    <a:pt x="2" y="298"/>
                    <a:pt x="5" y="302"/>
                    <a:pt x="9" y="306"/>
                  </a:cubicBezTo>
                  <a:cubicBezTo>
                    <a:pt x="14" y="311"/>
                    <a:pt x="17" y="316"/>
                    <a:pt x="18" y="323"/>
                  </a:cubicBezTo>
                  <a:cubicBezTo>
                    <a:pt x="18" y="327"/>
                    <a:pt x="19" y="332"/>
                    <a:pt x="21" y="337"/>
                  </a:cubicBezTo>
                  <a:cubicBezTo>
                    <a:pt x="23" y="341"/>
                    <a:pt x="25" y="343"/>
                    <a:pt x="29" y="343"/>
                  </a:cubicBezTo>
                  <a:cubicBezTo>
                    <a:pt x="30" y="343"/>
                    <a:pt x="31" y="343"/>
                    <a:pt x="33" y="342"/>
                  </a:cubicBezTo>
                  <a:cubicBezTo>
                    <a:pt x="45" y="338"/>
                    <a:pt x="58" y="335"/>
                    <a:pt x="70" y="330"/>
                  </a:cubicBezTo>
                  <a:cubicBezTo>
                    <a:pt x="85" y="325"/>
                    <a:pt x="100" y="320"/>
                    <a:pt x="109" y="307"/>
                  </a:cubicBezTo>
                  <a:cubicBezTo>
                    <a:pt x="112" y="304"/>
                    <a:pt x="113" y="300"/>
                    <a:pt x="116" y="297"/>
                  </a:cubicBezTo>
                  <a:cubicBezTo>
                    <a:pt x="121" y="292"/>
                    <a:pt x="118" y="290"/>
                    <a:pt x="113" y="286"/>
                  </a:cubicBezTo>
                  <a:cubicBezTo>
                    <a:pt x="108" y="283"/>
                    <a:pt x="101" y="279"/>
                    <a:pt x="99" y="273"/>
                  </a:cubicBezTo>
                  <a:cubicBezTo>
                    <a:pt x="99" y="270"/>
                    <a:pt x="98" y="269"/>
                    <a:pt x="97" y="269"/>
                  </a:cubicBezTo>
                  <a:cubicBezTo>
                    <a:pt x="96" y="269"/>
                    <a:pt x="95" y="270"/>
                    <a:pt x="93" y="271"/>
                  </a:cubicBezTo>
                  <a:cubicBezTo>
                    <a:pt x="89" y="276"/>
                    <a:pt x="83" y="278"/>
                    <a:pt x="77" y="279"/>
                  </a:cubicBezTo>
                  <a:cubicBezTo>
                    <a:pt x="76" y="279"/>
                    <a:pt x="75" y="280"/>
                    <a:pt x="74" y="280"/>
                  </a:cubicBezTo>
                  <a:cubicBezTo>
                    <a:pt x="72" y="280"/>
                    <a:pt x="70" y="279"/>
                    <a:pt x="68" y="276"/>
                  </a:cubicBezTo>
                  <a:cubicBezTo>
                    <a:pt x="62" y="265"/>
                    <a:pt x="57" y="254"/>
                    <a:pt x="50" y="244"/>
                  </a:cubicBezTo>
                  <a:cubicBezTo>
                    <a:pt x="48" y="241"/>
                    <a:pt x="45" y="238"/>
                    <a:pt x="49" y="235"/>
                  </a:cubicBezTo>
                  <a:cubicBezTo>
                    <a:pt x="51" y="234"/>
                    <a:pt x="52" y="233"/>
                    <a:pt x="54" y="233"/>
                  </a:cubicBezTo>
                  <a:cubicBezTo>
                    <a:pt x="57" y="233"/>
                    <a:pt x="59" y="235"/>
                    <a:pt x="62" y="236"/>
                  </a:cubicBezTo>
                  <a:cubicBezTo>
                    <a:pt x="64" y="238"/>
                    <a:pt x="66" y="240"/>
                    <a:pt x="67" y="243"/>
                  </a:cubicBezTo>
                  <a:cubicBezTo>
                    <a:pt x="74" y="253"/>
                    <a:pt x="83" y="259"/>
                    <a:pt x="95" y="259"/>
                  </a:cubicBezTo>
                  <a:cubicBezTo>
                    <a:pt x="96" y="259"/>
                    <a:pt x="97" y="259"/>
                    <a:pt x="98" y="259"/>
                  </a:cubicBezTo>
                  <a:cubicBezTo>
                    <a:pt x="98" y="259"/>
                    <a:pt x="99" y="259"/>
                    <a:pt x="99" y="259"/>
                  </a:cubicBezTo>
                  <a:cubicBezTo>
                    <a:pt x="102" y="259"/>
                    <a:pt x="103" y="260"/>
                    <a:pt x="105" y="262"/>
                  </a:cubicBezTo>
                  <a:cubicBezTo>
                    <a:pt x="107" y="267"/>
                    <a:pt x="112" y="269"/>
                    <a:pt x="118" y="271"/>
                  </a:cubicBezTo>
                  <a:cubicBezTo>
                    <a:pt x="124" y="272"/>
                    <a:pt x="130" y="272"/>
                    <a:pt x="136" y="273"/>
                  </a:cubicBezTo>
                  <a:cubicBezTo>
                    <a:pt x="144" y="275"/>
                    <a:pt x="154" y="273"/>
                    <a:pt x="160" y="279"/>
                  </a:cubicBezTo>
                  <a:cubicBezTo>
                    <a:pt x="167" y="284"/>
                    <a:pt x="174" y="289"/>
                    <a:pt x="182" y="293"/>
                  </a:cubicBezTo>
                  <a:cubicBezTo>
                    <a:pt x="185" y="294"/>
                    <a:pt x="188" y="296"/>
                    <a:pt x="184" y="297"/>
                  </a:cubicBezTo>
                  <a:cubicBezTo>
                    <a:pt x="180" y="299"/>
                    <a:pt x="180" y="301"/>
                    <a:pt x="183" y="303"/>
                  </a:cubicBezTo>
                  <a:cubicBezTo>
                    <a:pt x="185" y="305"/>
                    <a:pt x="186" y="305"/>
                    <a:pt x="188" y="305"/>
                  </a:cubicBezTo>
                  <a:cubicBezTo>
                    <a:pt x="189" y="305"/>
                    <a:pt x="191" y="304"/>
                    <a:pt x="192" y="303"/>
                  </a:cubicBezTo>
                  <a:cubicBezTo>
                    <a:pt x="193" y="301"/>
                    <a:pt x="193" y="298"/>
                    <a:pt x="195" y="298"/>
                  </a:cubicBezTo>
                  <a:cubicBezTo>
                    <a:pt x="195" y="298"/>
                    <a:pt x="195" y="298"/>
                    <a:pt x="195" y="299"/>
                  </a:cubicBezTo>
                  <a:cubicBezTo>
                    <a:pt x="198" y="299"/>
                    <a:pt x="198" y="302"/>
                    <a:pt x="199" y="305"/>
                  </a:cubicBezTo>
                  <a:cubicBezTo>
                    <a:pt x="200" y="308"/>
                    <a:pt x="200" y="312"/>
                    <a:pt x="200" y="315"/>
                  </a:cubicBezTo>
                  <a:cubicBezTo>
                    <a:pt x="200" y="321"/>
                    <a:pt x="200" y="327"/>
                    <a:pt x="203" y="333"/>
                  </a:cubicBezTo>
                  <a:cubicBezTo>
                    <a:pt x="209" y="350"/>
                    <a:pt x="216" y="366"/>
                    <a:pt x="225" y="382"/>
                  </a:cubicBezTo>
                  <a:cubicBezTo>
                    <a:pt x="226" y="383"/>
                    <a:pt x="227" y="385"/>
                    <a:pt x="228" y="386"/>
                  </a:cubicBezTo>
                  <a:cubicBezTo>
                    <a:pt x="243" y="353"/>
                    <a:pt x="243" y="353"/>
                    <a:pt x="243" y="353"/>
                  </a:cubicBezTo>
                  <a:cubicBezTo>
                    <a:pt x="243" y="349"/>
                    <a:pt x="245" y="346"/>
                    <a:pt x="248" y="343"/>
                  </a:cubicBezTo>
                  <a:cubicBezTo>
                    <a:pt x="275" y="284"/>
                    <a:pt x="275" y="284"/>
                    <a:pt x="275" y="284"/>
                  </a:cubicBezTo>
                  <a:cubicBezTo>
                    <a:pt x="304" y="306"/>
                    <a:pt x="304" y="306"/>
                    <a:pt x="304" y="306"/>
                  </a:cubicBezTo>
                  <a:cubicBezTo>
                    <a:pt x="306" y="306"/>
                    <a:pt x="307" y="305"/>
                    <a:pt x="308" y="304"/>
                  </a:cubicBezTo>
                  <a:cubicBezTo>
                    <a:pt x="310" y="304"/>
                    <a:pt x="311" y="303"/>
                    <a:pt x="312" y="303"/>
                  </a:cubicBezTo>
                  <a:cubicBezTo>
                    <a:pt x="313" y="303"/>
                    <a:pt x="313" y="303"/>
                    <a:pt x="314" y="304"/>
                  </a:cubicBezTo>
                  <a:cubicBezTo>
                    <a:pt x="318" y="312"/>
                    <a:pt x="326" y="318"/>
                    <a:pt x="330" y="326"/>
                  </a:cubicBezTo>
                  <a:cubicBezTo>
                    <a:pt x="348" y="340"/>
                    <a:pt x="348" y="340"/>
                    <a:pt x="348" y="340"/>
                  </a:cubicBezTo>
                  <a:cubicBezTo>
                    <a:pt x="287" y="0"/>
                    <a:pt x="287" y="0"/>
                    <a:pt x="287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îŝlíḓê"/>
            <p:cNvSpPr/>
            <p:nvPr/>
          </p:nvSpPr>
          <p:spPr bwMode="auto">
            <a:xfrm>
              <a:off x="4629150" y="4012407"/>
              <a:ext cx="106363" cy="263525"/>
            </a:xfrm>
            <a:custGeom>
              <a:avLst/>
              <a:gdLst>
                <a:gd name="T0" fmla="*/ 22 w 32"/>
                <a:gd name="T1" fmla="*/ 0 h 80"/>
                <a:gd name="T2" fmla="*/ 10 w 32"/>
                <a:gd name="T3" fmla="*/ 18 h 80"/>
                <a:gd name="T4" fmla="*/ 3 w 32"/>
                <a:gd name="T5" fmla="*/ 36 h 80"/>
                <a:gd name="T6" fmla="*/ 5 w 32"/>
                <a:gd name="T7" fmla="*/ 48 h 80"/>
                <a:gd name="T8" fmla="*/ 11 w 32"/>
                <a:gd name="T9" fmla="*/ 72 h 80"/>
                <a:gd name="T10" fmla="*/ 22 w 32"/>
                <a:gd name="T11" fmla="*/ 80 h 80"/>
                <a:gd name="T12" fmla="*/ 29 w 32"/>
                <a:gd name="T13" fmla="*/ 78 h 80"/>
                <a:gd name="T14" fmla="*/ 30 w 32"/>
                <a:gd name="T15" fmla="*/ 73 h 80"/>
                <a:gd name="T16" fmla="*/ 31 w 32"/>
                <a:gd name="T17" fmla="*/ 21 h 80"/>
                <a:gd name="T18" fmla="*/ 22 w 32"/>
                <a:gd name="T1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80">
                  <a:moveTo>
                    <a:pt x="22" y="0"/>
                  </a:moveTo>
                  <a:cubicBezTo>
                    <a:pt x="23" y="10"/>
                    <a:pt x="18" y="16"/>
                    <a:pt x="10" y="18"/>
                  </a:cubicBezTo>
                  <a:cubicBezTo>
                    <a:pt x="2" y="21"/>
                    <a:pt x="0" y="27"/>
                    <a:pt x="3" y="36"/>
                  </a:cubicBezTo>
                  <a:cubicBezTo>
                    <a:pt x="4" y="40"/>
                    <a:pt x="7" y="45"/>
                    <a:pt x="5" y="48"/>
                  </a:cubicBezTo>
                  <a:cubicBezTo>
                    <a:pt x="2" y="56"/>
                    <a:pt x="6" y="64"/>
                    <a:pt x="11" y="72"/>
                  </a:cubicBezTo>
                  <a:cubicBezTo>
                    <a:pt x="15" y="78"/>
                    <a:pt x="18" y="80"/>
                    <a:pt x="22" y="80"/>
                  </a:cubicBezTo>
                  <a:cubicBezTo>
                    <a:pt x="24" y="80"/>
                    <a:pt x="26" y="80"/>
                    <a:pt x="29" y="78"/>
                  </a:cubicBezTo>
                  <a:cubicBezTo>
                    <a:pt x="30" y="78"/>
                    <a:pt x="30" y="75"/>
                    <a:pt x="30" y="73"/>
                  </a:cubicBezTo>
                  <a:cubicBezTo>
                    <a:pt x="32" y="57"/>
                    <a:pt x="29" y="38"/>
                    <a:pt x="31" y="21"/>
                  </a:cubicBezTo>
                  <a:cubicBezTo>
                    <a:pt x="32" y="15"/>
                    <a:pt x="29" y="8"/>
                    <a:pt x="22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í$lîḋé"/>
            <p:cNvSpPr/>
            <p:nvPr/>
          </p:nvSpPr>
          <p:spPr bwMode="auto">
            <a:xfrm>
              <a:off x="4441825" y="3353594"/>
              <a:ext cx="241300" cy="447675"/>
            </a:xfrm>
            <a:custGeom>
              <a:avLst/>
              <a:gdLst>
                <a:gd name="T0" fmla="*/ 1 w 73"/>
                <a:gd name="T1" fmla="*/ 0 h 136"/>
                <a:gd name="T2" fmla="*/ 0 w 73"/>
                <a:gd name="T3" fmla="*/ 23 h 136"/>
                <a:gd name="T4" fmla="*/ 13 w 73"/>
                <a:gd name="T5" fmla="*/ 136 h 136"/>
                <a:gd name="T6" fmla="*/ 35 w 73"/>
                <a:gd name="T7" fmla="*/ 111 h 136"/>
                <a:gd name="T8" fmla="*/ 54 w 73"/>
                <a:gd name="T9" fmla="*/ 92 h 136"/>
                <a:gd name="T10" fmla="*/ 73 w 73"/>
                <a:gd name="T11" fmla="*/ 49 h 136"/>
                <a:gd name="T12" fmla="*/ 52 w 73"/>
                <a:gd name="T13" fmla="*/ 50 h 136"/>
                <a:gd name="T14" fmla="*/ 42 w 73"/>
                <a:gd name="T15" fmla="*/ 51 h 136"/>
                <a:gd name="T16" fmla="*/ 24 w 73"/>
                <a:gd name="T17" fmla="*/ 43 h 136"/>
                <a:gd name="T18" fmla="*/ 10 w 73"/>
                <a:gd name="T19" fmla="*/ 26 h 136"/>
                <a:gd name="T20" fmla="*/ 0 w 73"/>
                <a:gd name="T21" fmla="*/ 13 h 136"/>
                <a:gd name="T22" fmla="*/ 1 w 73"/>
                <a:gd name="T2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136">
                  <a:moveTo>
                    <a:pt x="1" y="0"/>
                  </a:moveTo>
                  <a:cubicBezTo>
                    <a:pt x="0" y="7"/>
                    <a:pt x="0" y="15"/>
                    <a:pt x="0" y="23"/>
                  </a:cubicBezTo>
                  <a:cubicBezTo>
                    <a:pt x="0" y="62"/>
                    <a:pt x="5" y="100"/>
                    <a:pt x="13" y="136"/>
                  </a:cubicBezTo>
                  <a:cubicBezTo>
                    <a:pt x="18" y="126"/>
                    <a:pt x="25" y="117"/>
                    <a:pt x="35" y="111"/>
                  </a:cubicBezTo>
                  <a:cubicBezTo>
                    <a:pt x="43" y="106"/>
                    <a:pt x="49" y="99"/>
                    <a:pt x="54" y="92"/>
                  </a:cubicBezTo>
                  <a:cubicBezTo>
                    <a:pt x="63" y="79"/>
                    <a:pt x="68" y="64"/>
                    <a:pt x="73" y="49"/>
                  </a:cubicBezTo>
                  <a:cubicBezTo>
                    <a:pt x="66" y="49"/>
                    <a:pt x="59" y="50"/>
                    <a:pt x="52" y="50"/>
                  </a:cubicBezTo>
                  <a:cubicBezTo>
                    <a:pt x="49" y="51"/>
                    <a:pt x="45" y="51"/>
                    <a:pt x="42" y="51"/>
                  </a:cubicBezTo>
                  <a:cubicBezTo>
                    <a:pt x="35" y="51"/>
                    <a:pt x="29" y="50"/>
                    <a:pt x="24" y="43"/>
                  </a:cubicBezTo>
                  <a:cubicBezTo>
                    <a:pt x="19" y="38"/>
                    <a:pt x="15" y="32"/>
                    <a:pt x="10" y="26"/>
                  </a:cubicBezTo>
                  <a:cubicBezTo>
                    <a:pt x="7" y="22"/>
                    <a:pt x="4" y="17"/>
                    <a:pt x="0" y="13"/>
                  </a:cubicBezTo>
                  <a:cubicBezTo>
                    <a:pt x="0" y="9"/>
                    <a:pt x="1" y="4"/>
                    <a:pt x="1" y="0"/>
                  </a:cubicBezTo>
                </a:path>
              </a:pathLst>
            </a:custGeom>
            <a:solidFill>
              <a:srgbClr val="91D5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iṧľïḑe"/>
            <p:cNvSpPr/>
            <p:nvPr/>
          </p:nvSpPr>
          <p:spPr bwMode="auto">
            <a:xfrm>
              <a:off x="4833937" y="1270794"/>
              <a:ext cx="1349375" cy="728663"/>
            </a:xfrm>
            <a:custGeom>
              <a:avLst/>
              <a:gdLst>
                <a:gd name="T0" fmla="*/ 409 w 409"/>
                <a:gd name="T1" fmla="*/ 123 h 221"/>
                <a:gd name="T2" fmla="*/ 347 w 409"/>
                <a:gd name="T3" fmla="*/ 50 h 221"/>
                <a:gd name="T4" fmla="*/ 237 w 409"/>
                <a:gd name="T5" fmla="*/ 2 h 221"/>
                <a:gd name="T6" fmla="*/ 140 w 409"/>
                <a:gd name="T7" fmla="*/ 48 h 221"/>
                <a:gd name="T8" fmla="*/ 133 w 409"/>
                <a:gd name="T9" fmla="*/ 55 h 221"/>
                <a:gd name="T10" fmla="*/ 0 w 409"/>
                <a:gd name="T11" fmla="*/ 207 h 221"/>
                <a:gd name="T12" fmla="*/ 134 w 409"/>
                <a:gd name="T13" fmla="*/ 221 h 221"/>
                <a:gd name="T14" fmla="*/ 382 w 409"/>
                <a:gd name="T15" fmla="*/ 154 h 221"/>
                <a:gd name="T16" fmla="*/ 409 w 409"/>
                <a:gd name="T17" fmla="*/ 12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221">
                  <a:moveTo>
                    <a:pt x="409" y="123"/>
                  </a:moveTo>
                  <a:cubicBezTo>
                    <a:pt x="347" y="50"/>
                    <a:pt x="347" y="50"/>
                    <a:pt x="347" y="50"/>
                  </a:cubicBezTo>
                  <a:cubicBezTo>
                    <a:pt x="318" y="16"/>
                    <a:pt x="277" y="0"/>
                    <a:pt x="237" y="2"/>
                  </a:cubicBezTo>
                  <a:cubicBezTo>
                    <a:pt x="201" y="3"/>
                    <a:pt x="165" y="19"/>
                    <a:pt x="140" y="48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134" y="221"/>
                    <a:pt x="134" y="221"/>
                    <a:pt x="134" y="221"/>
                  </a:cubicBezTo>
                  <a:cubicBezTo>
                    <a:pt x="207" y="178"/>
                    <a:pt x="292" y="154"/>
                    <a:pt x="382" y="154"/>
                  </a:cubicBezTo>
                  <a:lnTo>
                    <a:pt x="409" y="123"/>
                  </a:lnTo>
                  <a:close/>
                </a:path>
              </a:pathLst>
            </a:custGeom>
            <a:solidFill>
              <a:srgbClr val="E5D4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î$ľïḑe"/>
            <p:cNvSpPr/>
            <p:nvPr/>
          </p:nvSpPr>
          <p:spPr bwMode="auto">
            <a:xfrm>
              <a:off x="7578725" y="2888457"/>
              <a:ext cx="646113" cy="1289050"/>
            </a:xfrm>
            <a:custGeom>
              <a:avLst/>
              <a:gdLst>
                <a:gd name="T0" fmla="*/ 0 w 196"/>
                <a:gd name="T1" fmla="*/ 391 h 391"/>
                <a:gd name="T2" fmla="*/ 76 w 196"/>
                <a:gd name="T3" fmla="*/ 379 h 391"/>
                <a:gd name="T4" fmla="*/ 174 w 196"/>
                <a:gd name="T5" fmla="*/ 309 h 391"/>
                <a:gd name="T6" fmla="*/ 184 w 196"/>
                <a:gd name="T7" fmla="*/ 202 h 391"/>
                <a:gd name="T8" fmla="*/ 182 w 196"/>
                <a:gd name="T9" fmla="*/ 193 h 391"/>
                <a:gd name="T10" fmla="*/ 120 w 196"/>
                <a:gd name="T11" fmla="*/ 0 h 391"/>
                <a:gd name="T12" fmla="*/ 50 w 196"/>
                <a:gd name="T13" fmla="*/ 95 h 391"/>
                <a:gd name="T14" fmla="*/ 55 w 196"/>
                <a:gd name="T15" fmla="*/ 164 h 391"/>
                <a:gd name="T16" fmla="*/ 0 w 196"/>
                <a:gd name="T17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1">
                  <a:moveTo>
                    <a:pt x="0" y="391"/>
                  </a:moveTo>
                  <a:cubicBezTo>
                    <a:pt x="76" y="379"/>
                    <a:pt x="76" y="379"/>
                    <a:pt x="76" y="379"/>
                  </a:cubicBezTo>
                  <a:cubicBezTo>
                    <a:pt x="120" y="372"/>
                    <a:pt x="155" y="345"/>
                    <a:pt x="174" y="309"/>
                  </a:cubicBezTo>
                  <a:cubicBezTo>
                    <a:pt x="191" y="278"/>
                    <a:pt x="196" y="239"/>
                    <a:pt x="184" y="202"/>
                  </a:cubicBezTo>
                  <a:cubicBezTo>
                    <a:pt x="182" y="193"/>
                    <a:pt x="182" y="193"/>
                    <a:pt x="182" y="193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3" y="117"/>
                    <a:pt x="55" y="141"/>
                    <a:pt x="55" y="164"/>
                  </a:cubicBezTo>
                  <a:cubicBezTo>
                    <a:pt x="55" y="246"/>
                    <a:pt x="35" y="323"/>
                    <a:pt x="0" y="391"/>
                  </a:cubicBezTo>
                  <a:close/>
                </a:path>
              </a:pathLst>
            </a:custGeom>
            <a:solidFill>
              <a:srgbClr val="E5D4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ïSlídé"/>
            <p:cNvSpPr/>
            <p:nvPr/>
          </p:nvSpPr>
          <p:spPr bwMode="auto">
            <a:xfrm>
              <a:off x="4510087" y="4233069"/>
              <a:ext cx="1016000" cy="995363"/>
            </a:xfrm>
            <a:custGeom>
              <a:avLst/>
              <a:gdLst>
                <a:gd name="T0" fmla="*/ 44 w 308"/>
                <a:gd name="T1" fmla="*/ 0 h 302"/>
                <a:gd name="T2" fmla="*/ 19 w 308"/>
                <a:gd name="T3" fmla="*/ 54 h 302"/>
                <a:gd name="T4" fmla="*/ 22 w 308"/>
                <a:gd name="T5" fmla="*/ 175 h 302"/>
                <a:gd name="T6" fmla="*/ 105 w 308"/>
                <a:gd name="T7" fmla="*/ 243 h 302"/>
                <a:gd name="T8" fmla="*/ 114 w 308"/>
                <a:gd name="T9" fmla="*/ 246 h 302"/>
                <a:gd name="T10" fmla="*/ 308 w 308"/>
                <a:gd name="T11" fmla="*/ 302 h 302"/>
                <a:gd name="T12" fmla="*/ 277 w 308"/>
                <a:gd name="T13" fmla="*/ 214 h 302"/>
                <a:gd name="T14" fmla="*/ 44 w 308"/>
                <a:gd name="T15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8" h="302">
                  <a:moveTo>
                    <a:pt x="44" y="0"/>
                  </a:moveTo>
                  <a:cubicBezTo>
                    <a:pt x="19" y="54"/>
                    <a:pt x="19" y="54"/>
                    <a:pt x="19" y="54"/>
                  </a:cubicBezTo>
                  <a:cubicBezTo>
                    <a:pt x="0" y="95"/>
                    <a:pt x="3" y="139"/>
                    <a:pt x="22" y="175"/>
                  </a:cubicBezTo>
                  <a:cubicBezTo>
                    <a:pt x="38" y="207"/>
                    <a:pt x="67" y="232"/>
                    <a:pt x="105" y="243"/>
                  </a:cubicBezTo>
                  <a:cubicBezTo>
                    <a:pt x="114" y="246"/>
                    <a:pt x="114" y="246"/>
                    <a:pt x="114" y="246"/>
                  </a:cubicBezTo>
                  <a:cubicBezTo>
                    <a:pt x="308" y="302"/>
                    <a:pt x="308" y="302"/>
                    <a:pt x="308" y="302"/>
                  </a:cubicBezTo>
                  <a:cubicBezTo>
                    <a:pt x="277" y="214"/>
                    <a:pt x="277" y="214"/>
                    <a:pt x="277" y="214"/>
                  </a:cubicBezTo>
                  <a:cubicBezTo>
                    <a:pt x="178" y="169"/>
                    <a:pt x="96" y="94"/>
                    <a:pt x="44" y="0"/>
                  </a:cubicBezTo>
                  <a:close/>
                </a:path>
              </a:pathLst>
            </a:custGeom>
            <a:solidFill>
              <a:srgbClr val="E5D4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î$líḓé"/>
            <p:cNvSpPr/>
            <p:nvPr/>
          </p:nvSpPr>
          <p:spPr bwMode="auto">
            <a:xfrm>
              <a:off x="5616575" y="1212057"/>
              <a:ext cx="2403475" cy="1712913"/>
            </a:xfrm>
            <a:custGeom>
              <a:avLst/>
              <a:gdLst>
                <a:gd name="T0" fmla="*/ 637 w 729"/>
                <a:gd name="T1" fmla="*/ 258 h 520"/>
                <a:gd name="T2" fmla="*/ 513 w 729"/>
                <a:gd name="T3" fmla="*/ 111 h 520"/>
                <a:gd name="T4" fmla="*/ 461 w 729"/>
                <a:gd name="T5" fmla="*/ 50 h 520"/>
                <a:gd name="T6" fmla="*/ 351 w 729"/>
                <a:gd name="T7" fmla="*/ 1 h 520"/>
                <a:gd name="T8" fmla="*/ 351 w 729"/>
                <a:gd name="T9" fmla="*/ 1 h 520"/>
                <a:gd name="T10" fmla="*/ 0 w 729"/>
                <a:gd name="T11" fmla="*/ 20 h 520"/>
                <a:gd name="T12" fmla="*/ 0 w 729"/>
                <a:gd name="T13" fmla="*/ 20 h 520"/>
                <a:gd name="T14" fmla="*/ 110 w 729"/>
                <a:gd name="T15" fmla="*/ 68 h 520"/>
                <a:gd name="T16" fmla="*/ 172 w 729"/>
                <a:gd name="T17" fmla="*/ 141 h 520"/>
                <a:gd name="T18" fmla="*/ 200 w 729"/>
                <a:gd name="T19" fmla="*/ 174 h 520"/>
                <a:gd name="T20" fmla="*/ 382 w 729"/>
                <a:gd name="T21" fmla="*/ 390 h 520"/>
                <a:gd name="T22" fmla="*/ 300 w 729"/>
                <a:gd name="T23" fmla="*/ 432 h 520"/>
                <a:gd name="T24" fmla="*/ 625 w 729"/>
                <a:gd name="T25" fmla="*/ 518 h 520"/>
                <a:gd name="T26" fmla="*/ 634 w 729"/>
                <a:gd name="T27" fmla="*/ 520 h 520"/>
                <a:gd name="T28" fmla="*/ 729 w 729"/>
                <a:gd name="T29" fmla="*/ 211 h 520"/>
                <a:gd name="T30" fmla="*/ 637 w 729"/>
                <a:gd name="T31" fmla="*/ 258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9" h="520">
                  <a:moveTo>
                    <a:pt x="637" y="258"/>
                  </a:moveTo>
                  <a:cubicBezTo>
                    <a:pt x="513" y="111"/>
                    <a:pt x="513" y="111"/>
                    <a:pt x="513" y="111"/>
                  </a:cubicBezTo>
                  <a:cubicBezTo>
                    <a:pt x="461" y="50"/>
                    <a:pt x="461" y="50"/>
                    <a:pt x="461" y="50"/>
                  </a:cubicBezTo>
                  <a:cubicBezTo>
                    <a:pt x="432" y="16"/>
                    <a:pt x="391" y="0"/>
                    <a:pt x="351" y="1"/>
                  </a:cubicBezTo>
                  <a:cubicBezTo>
                    <a:pt x="351" y="1"/>
                    <a:pt x="351" y="1"/>
                    <a:pt x="351" y="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0" y="18"/>
                    <a:pt x="81" y="34"/>
                    <a:pt x="110" y="68"/>
                  </a:cubicBezTo>
                  <a:cubicBezTo>
                    <a:pt x="172" y="141"/>
                    <a:pt x="172" y="141"/>
                    <a:pt x="172" y="141"/>
                  </a:cubicBezTo>
                  <a:cubicBezTo>
                    <a:pt x="200" y="174"/>
                    <a:pt x="200" y="174"/>
                    <a:pt x="200" y="174"/>
                  </a:cubicBezTo>
                  <a:cubicBezTo>
                    <a:pt x="382" y="390"/>
                    <a:pt x="382" y="390"/>
                    <a:pt x="382" y="390"/>
                  </a:cubicBezTo>
                  <a:cubicBezTo>
                    <a:pt x="300" y="432"/>
                    <a:pt x="300" y="432"/>
                    <a:pt x="300" y="432"/>
                  </a:cubicBezTo>
                  <a:cubicBezTo>
                    <a:pt x="625" y="518"/>
                    <a:pt x="625" y="518"/>
                    <a:pt x="625" y="518"/>
                  </a:cubicBezTo>
                  <a:cubicBezTo>
                    <a:pt x="634" y="520"/>
                    <a:pt x="634" y="520"/>
                    <a:pt x="634" y="520"/>
                  </a:cubicBezTo>
                  <a:cubicBezTo>
                    <a:pt x="729" y="211"/>
                    <a:pt x="729" y="211"/>
                    <a:pt x="729" y="211"/>
                  </a:cubicBezTo>
                  <a:lnTo>
                    <a:pt x="637" y="258"/>
                  </a:lnTo>
                  <a:close/>
                </a:path>
              </a:pathLst>
            </a:custGeom>
            <a:solidFill>
              <a:srgbClr val="EFE7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iSḷíḋe"/>
            <p:cNvSpPr/>
            <p:nvPr/>
          </p:nvSpPr>
          <p:spPr bwMode="auto">
            <a:xfrm>
              <a:off x="5662612" y="3906044"/>
              <a:ext cx="2490788" cy="1739900"/>
            </a:xfrm>
            <a:custGeom>
              <a:avLst/>
              <a:gdLst>
                <a:gd name="T0" fmla="*/ 755 w 755"/>
                <a:gd name="T1" fmla="*/ 0 h 528"/>
                <a:gd name="T2" fmla="*/ 657 w 755"/>
                <a:gd name="T3" fmla="*/ 70 h 528"/>
                <a:gd name="T4" fmla="*/ 581 w 755"/>
                <a:gd name="T5" fmla="*/ 82 h 528"/>
                <a:gd name="T6" fmla="*/ 563 w 755"/>
                <a:gd name="T7" fmla="*/ 85 h 528"/>
                <a:gd name="T8" fmla="*/ 242 w 755"/>
                <a:gd name="T9" fmla="*/ 138 h 528"/>
                <a:gd name="T10" fmla="*/ 247 w 755"/>
                <a:gd name="T11" fmla="*/ 46 h 528"/>
                <a:gd name="T12" fmla="*/ 0 w 755"/>
                <a:gd name="T13" fmla="*/ 287 h 528"/>
                <a:gd name="T14" fmla="*/ 58 w 755"/>
                <a:gd name="T15" fmla="*/ 351 h 528"/>
                <a:gd name="T16" fmla="*/ 217 w 755"/>
                <a:gd name="T17" fmla="*/ 528 h 528"/>
                <a:gd name="T18" fmla="*/ 223 w 755"/>
                <a:gd name="T19" fmla="*/ 424 h 528"/>
                <a:gd name="T20" fmla="*/ 413 w 755"/>
                <a:gd name="T21" fmla="*/ 394 h 528"/>
                <a:gd name="T22" fmla="*/ 492 w 755"/>
                <a:gd name="T23" fmla="*/ 381 h 528"/>
                <a:gd name="T24" fmla="*/ 591 w 755"/>
                <a:gd name="T25" fmla="*/ 311 h 528"/>
                <a:gd name="T26" fmla="*/ 591 w 755"/>
                <a:gd name="T27" fmla="*/ 311 h 528"/>
                <a:gd name="T28" fmla="*/ 755 w 755"/>
                <a:gd name="T29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5" h="528">
                  <a:moveTo>
                    <a:pt x="755" y="0"/>
                  </a:moveTo>
                  <a:cubicBezTo>
                    <a:pt x="736" y="36"/>
                    <a:pt x="701" y="63"/>
                    <a:pt x="657" y="70"/>
                  </a:cubicBezTo>
                  <a:cubicBezTo>
                    <a:pt x="581" y="82"/>
                    <a:pt x="581" y="82"/>
                    <a:pt x="581" y="82"/>
                  </a:cubicBezTo>
                  <a:cubicBezTo>
                    <a:pt x="563" y="85"/>
                    <a:pt x="563" y="85"/>
                    <a:pt x="563" y="85"/>
                  </a:cubicBezTo>
                  <a:cubicBezTo>
                    <a:pt x="242" y="138"/>
                    <a:pt x="242" y="138"/>
                    <a:pt x="242" y="138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217" y="528"/>
                    <a:pt x="217" y="528"/>
                    <a:pt x="217" y="528"/>
                  </a:cubicBezTo>
                  <a:cubicBezTo>
                    <a:pt x="223" y="424"/>
                    <a:pt x="223" y="424"/>
                    <a:pt x="223" y="424"/>
                  </a:cubicBezTo>
                  <a:cubicBezTo>
                    <a:pt x="413" y="394"/>
                    <a:pt x="413" y="394"/>
                    <a:pt x="413" y="394"/>
                  </a:cubicBezTo>
                  <a:cubicBezTo>
                    <a:pt x="492" y="381"/>
                    <a:pt x="492" y="381"/>
                    <a:pt x="492" y="381"/>
                  </a:cubicBezTo>
                  <a:cubicBezTo>
                    <a:pt x="536" y="373"/>
                    <a:pt x="571" y="347"/>
                    <a:pt x="591" y="311"/>
                  </a:cubicBezTo>
                  <a:cubicBezTo>
                    <a:pt x="591" y="311"/>
                    <a:pt x="591" y="311"/>
                    <a:pt x="591" y="311"/>
                  </a:cubicBezTo>
                  <a:cubicBezTo>
                    <a:pt x="755" y="0"/>
                    <a:pt x="755" y="0"/>
                    <a:pt x="755" y="0"/>
                  </a:cubicBezTo>
                  <a:close/>
                </a:path>
              </a:pathLst>
            </a:custGeom>
            <a:solidFill>
              <a:srgbClr val="EFE7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iSļiďê"/>
            <p:cNvSpPr/>
            <p:nvPr/>
          </p:nvSpPr>
          <p:spPr bwMode="auto">
            <a:xfrm>
              <a:off x="3967162" y="2216944"/>
              <a:ext cx="1427163" cy="2592388"/>
            </a:xfrm>
            <a:custGeom>
              <a:avLst/>
              <a:gdLst>
                <a:gd name="T0" fmla="*/ 372 w 433"/>
                <a:gd name="T1" fmla="*/ 0 h 787"/>
                <a:gd name="T2" fmla="*/ 296 w 433"/>
                <a:gd name="T3" fmla="*/ 11 h 787"/>
                <a:gd name="T4" fmla="*/ 51 w 433"/>
                <a:gd name="T5" fmla="*/ 46 h 787"/>
                <a:gd name="T6" fmla="*/ 132 w 433"/>
                <a:gd name="T7" fmla="*/ 109 h 787"/>
                <a:gd name="T8" fmla="*/ 52 w 433"/>
                <a:gd name="T9" fmla="*/ 283 h 787"/>
                <a:gd name="T10" fmla="*/ 18 w 433"/>
                <a:gd name="T11" fmla="*/ 356 h 787"/>
                <a:gd name="T12" fmla="*/ 21 w 433"/>
                <a:gd name="T13" fmla="*/ 476 h 787"/>
                <a:gd name="T14" fmla="*/ 21 w 433"/>
                <a:gd name="T15" fmla="*/ 476 h 787"/>
                <a:gd name="T16" fmla="*/ 187 w 433"/>
                <a:gd name="T17" fmla="*/ 787 h 787"/>
                <a:gd name="T18" fmla="*/ 187 w 433"/>
                <a:gd name="T19" fmla="*/ 787 h 787"/>
                <a:gd name="T20" fmla="*/ 184 w 433"/>
                <a:gd name="T21" fmla="*/ 666 h 787"/>
                <a:gd name="T22" fmla="*/ 209 w 433"/>
                <a:gd name="T23" fmla="*/ 612 h 787"/>
                <a:gd name="T24" fmla="*/ 224 w 433"/>
                <a:gd name="T25" fmla="*/ 580 h 787"/>
                <a:gd name="T26" fmla="*/ 360 w 433"/>
                <a:gd name="T27" fmla="*/ 284 h 787"/>
                <a:gd name="T28" fmla="*/ 433 w 433"/>
                <a:gd name="T29" fmla="*/ 340 h 787"/>
                <a:gd name="T30" fmla="*/ 372 w 433"/>
                <a:gd name="T31" fmla="*/ 0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3" h="787">
                  <a:moveTo>
                    <a:pt x="372" y="0"/>
                  </a:moveTo>
                  <a:cubicBezTo>
                    <a:pt x="296" y="11"/>
                    <a:pt x="296" y="11"/>
                    <a:pt x="296" y="11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52" y="283"/>
                    <a:pt x="52" y="283"/>
                    <a:pt x="52" y="283"/>
                  </a:cubicBezTo>
                  <a:cubicBezTo>
                    <a:pt x="18" y="356"/>
                    <a:pt x="18" y="356"/>
                    <a:pt x="18" y="356"/>
                  </a:cubicBezTo>
                  <a:cubicBezTo>
                    <a:pt x="0" y="396"/>
                    <a:pt x="2" y="441"/>
                    <a:pt x="21" y="476"/>
                  </a:cubicBezTo>
                  <a:cubicBezTo>
                    <a:pt x="21" y="476"/>
                    <a:pt x="21" y="476"/>
                    <a:pt x="21" y="476"/>
                  </a:cubicBezTo>
                  <a:cubicBezTo>
                    <a:pt x="187" y="787"/>
                    <a:pt x="187" y="787"/>
                    <a:pt x="187" y="787"/>
                  </a:cubicBezTo>
                  <a:cubicBezTo>
                    <a:pt x="187" y="787"/>
                    <a:pt x="187" y="787"/>
                    <a:pt x="187" y="787"/>
                  </a:cubicBezTo>
                  <a:cubicBezTo>
                    <a:pt x="168" y="751"/>
                    <a:pt x="165" y="707"/>
                    <a:pt x="184" y="666"/>
                  </a:cubicBezTo>
                  <a:cubicBezTo>
                    <a:pt x="209" y="612"/>
                    <a:pt x="209" y="612"/>
                    <a:pt x="209" y="612"/>
                  </a:cubicBezTo>
                  <a:cubicBezTo>
                    <a:pt x="224" y="580"/>
                    <a:pt x="224" y="580"/>
                    <a:pt x="224" y="580"/>
                  </a:cubicBezTo>
                  <a:cubicBezTo>
                    <a:pt x="360" y="284"/>
                    <a:pt x="360" y="284"/>
                    <a:pt x="360" y="284"/>
                  </a:cubicBezTo>
                  <a:cubicBezTo>
                    <a:pt x="433" y="340"/>
                    <a:pt x="433" y="340"/>
                    <a:pt x="433" y="340"/>
                  </a:cubicBezTo>
                  <a:lnTo>
                    <a:pt x="372" y="0"/>
                  </a:lnTo>
                  <a:close/>
                </a:path>
              </a:pathLst>
            </a:custGeom>
            <a:solidFill>
              <a:srgbClr val="EFE7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lum bright="70000" contrast="-70000"/>
          </a:blip>
          <a:srcRect l="16424" t="9195" r="14657"/>
          <a:stretch>
            <a:fillRect/>
          </a:stretch>
        </p:blipFill>
        <p:spPr>
          <a:xfrm>
            <a:off x="5721013" y="2873067"/>
            <a:ext cx="4075945" cy="3621803"/>
          </a:xfrm>
          <a:custGeom>
            <a:avLst/>
            <a:gdLst>
              <a:gd name="connsiteX0" fmla="*/ 2168892 w 5067726"/>
              <a:gd name="connsiteY0" fmla="*/ 0 h 4503079"/>
              <a:gd name="connsiteX1" fmla="*/ 5067726 w 5067726"/>
              <a:gd name="connsiteY1" fmla="*/ 3633866 h 4503079"/>
              <a:gd name="connsiteX2" fmla="*/ 1259586 w 5067726"/>
              <a:gd name="connsiteY2" fmla="*/ 4503079 h 4503079"/>
              <a:gd name="connsiteX3" fmla="*/ 0 w 5067726"/>
              <a:gd name="connsiteY3" fmla="*/ 4503079 h 4503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7726" h="4503079">
                <a:moveTo>
                  <a:pt x="2168892" y="0"/>
                </a:moveTo>
                <a:cubicBezTo>
                  <a:pt x="3637772" y="707313"/>
                  <a:pt x="4705074" y="2044894"/>
                  <a:pt x="5067726" y="3633866"/>
                </a:cubicBezTo>
                <a:lnTo>
                  <a:pt x="1259586" y="4503079"/>
                </a:lnTo>
                <a:lnTo>
                  <a:pt x="0" y="4503079"/>
                </a:lnTo>
                <a:close/>
              </a:path>
            </a:pathLst>
          </a:cu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lum bright="70000" contrast="-70000"/>
          </a:blip>
          <a:srcRect l="10442" t="35367" r="37848"/>
          <a:stretch>
            <a:fillRect/>
          </a:stretch>
        </p:blipFill>
        <p:spPr>
          <a:xfrm>
            <a:off x="3724301" y="2445591"/>
            <a:ext cx="3740503" cy="2763686"/>
          </a:xfrm>
          <a:custGeom>
            <a:avLst/>
            <a:gdLst>
              <a:gd name="connsiteX0" fmla="*/ 2325331 w 4650662"/>
              <a:gd name="connsiteY0" fmla="*/ 0 h 3436161"/>
              <a:gd name="connsiteX1" fmla="*/ 4650662 w 4650662"/>
              <a:gd name="connsiteY1" fmla="*/ 530585 h 3436161"/>
              <a:gd name="connsiteX2" fmla="*/ 3251067 w 4650662"/>
              <a:gd name="connsiteY2" fmla="*/ 3436161 h 3436161"/>
              <a:gd name="connsiteX3" fmla="*/ 1399835 w 4650662"/>
              <a:gd name="connsiteY3" fmla="*/ 3436161 h 3436161"/>
              <a:gd name="connsiteX4" fmla="*/ 0 w 4650662"/>
              <a:gd name="connsiteY4" fmla="*/ 530585 h 3436161"/>
              <a:gd name="connsiteX5" fmla="*/ 2325331 w 4650662"/>
              <a:gd name="connsiteY5" fmla="*/ 0 h 343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0662" h="3436161">
                <a:moveTo>
                  <a:pt x="2325331" y="0"/>
                </a:moveTo>
                <a:cubicBezTo>
                  <a:pt x="3120573" y="0"/>
                  <a:pt x="3915814" y="176861"/>
                  <a:pt x="4650662" y="530585"/>
                </a:cubicBezTo>
                <a:lnTo>
                  <a:pt x="3251067" y="3436161"/>
                </a:lnTo>
                <a:lnTo>
                  <a:pt x="1399835" y="3436161"/>
                </a:lnTo>
                <a:lnTo>
                  <a:pt x="0" y="530585"/>
                </a:lnTo>
                <a:cubicBezTo>
                  <a:pt x="734849" y="176861"/>
                  <a:pt x="1530090" y="0"/>
                  <a:pt x="2325331" y="0"/>
                </a:cubicBezTo>
                <a:close/>
              </a:path>
            </a:pathLst>
          </a:cu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lum bright="70000" contrast="-70000"/>
          </a:blip>
          <a:srcRect l="7166" t="8236" r="16270"/>
          <a:stretch>
            <a:fillRect/>
          </a:stretch>
        </p:blipFill>
        <p:spPr>
          <a:xfrm>
            <a:off x="1392142" y="2873067"/>
            <a:ext cx="3772797" cy="3411390"/>
          </a:xfrm>
          <a:custGeom>
            <a:avLst/>
            <a:gdLst>
              <a:gd name="connsiteX0" fmla="*/ 2900231 w 4690814"/>
              <a:gd name="connsiteY0" fmla="*/ 0 h 4241468"/>
              <a:gd name="connsiteX1" fmla="*/ 4690814 w 4690814"/>
              <a:gd name="connsiteY1" fmla="*/ 3714571 h 4241468"/>
              <a:gd name="connsiteX2" fmla="*/ 4690814 w 4690814"/>
              <a:gd name="connsiteY2" fmla="*/ 4241468 h 4241468"/>
              <a:gd name="connsiteX3" fmla="*/ 2663674 w 4690814"/>
              <a:gd name="connsiteY3" fmla="*/ 4241468 h 4241468"/>
              <a:gd name="connsiteX4" fmla="*/ 0 w 4690814"/>
              <a:gd name="connsiteY4" fmla="*/ 3633866 h 4241468"/>
              <a:gd name="connsiteX5" fmla="*/ 2900231 w 4690814"/>
              <a:gd name="connsiteY5" fmla="*/ 0 h 4241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90814" h="4241468">
                <a:moveTo>
                  <a:pt x="2900231" y="0"/>
                </a:moveTo>
                <a:lnTo>
                  <a:pt x="4690814" y="3714571"/>
                </a:lnTo>
                <a:lnTo>
                  <a:pt x="4690814" y="4241468"/>
                </a:lnTo>
                <a:lnTo>
                  <a:pt x="2663674" y="4241468"/>
                </a:lnTo>
                <a:lnTo>
                  <a:pt x="0" y="3633866"/>
                </a:lnTo>
                <a:cubicBezTo>
                  <a:pt x="363225" y="2045291"/>
                  <a:pt x="1430643" y="707710"/>
                  <a:pt x="2900231" y="0"/>
                </a:cubicBezTo>
                <a:close/>
              </a:path>
            </a:pathLst>
          </a:custGeom>
        </p:spPr>
      </p:pic>
      <p:sp>
        <p:nvSpPr>
          <p:cNvPr id="59" name="任意多边形: 形状 58"/>
          <p:cNvSpPr/>
          <p:nvPr/>
        </p:nvSpPr>
        <p:spPr bwMode="auto">
          <a:xfrm rot="10800000">
            <a:off x="5456436" y="6754668"/>
            <a:ext cx="139445" cy="111129"/>
          </a:xfrm>
          <a:custGeom>
            <a:avLst/>
            <a:gdLst>
              <a:gd name="connsiteX0" fmla="*/ 0 w 173376"/>
              <a:gd name="connsiteY0" fmla="*/ 138170 h 138170"/>
              <a:gd name="connsiteX1" fmla="*/ 0 w 173376"/>
              <a:gd name="connsiteY1" fmla="*/ 0 h 138170"/>
              <a:gd name="connsiteX2" fmla="*/ 173376 w 173376"/>
              <a:gd name="connsiteY2" fmla="*/ 0 h 138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3376" h="138170">
                <a:moveTo>
                  <a:pt x="0" y="138170"/>
                </a:moveTo>
                <a:lnTo>
                  <a:pt x="0" y="0"/>
                </a:lnTo>
                <a:lnTo>
                  <a:pt x="173376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7" name="任意多边形: 形状 56"/>
          <p:cNvSpPr/>
          <p:nvPr/>
        </p:nvSpPr>
        <p:spPr bwMode="auto">
          <a:xfrm rot="10800000">
            <a:off x="1283293" y="5796248"/>
            <a:ext cx="4312589" cy="1069550"/>
          </a:xfrm>
          <a:custGeom>
            <a:avLst/>
            <a:gdLst>
              <a:gd name="connsiteX0" fmla="*/ 5227442 w 5361951"/>
              <a:gd name="connsiteY0" fmla="*/ 1329799 h 1329799"/>
              <a:gd name="connsiteX1" fmla="*/ 0 w 5361951"/>
              <a:gd name="connsiteY1" fmla="*/ 137759 h 1329799"/>
              <a:gd name="connsiteX2" fmla="*/ 172914 w 5361951"/>
              <a:gd name="connsiteY2" fmla="*/ 0 h 1329799"/>
              <a:gd name="connsiteX3" fmla="*/ 5358100 w 5361951"/>
              <a:gd name="connsiteY3" fmla="*/ 0 h 1329799"/>
              <a:gd name="connsiteX4" fmla="*/ 5361946 w 5361951"/>
              <a:gd name="connsiteY4" fmla="*/ 130476 h 1329799"/>
              <a:gd name="connsiteX5" fmla="*/ 5227442 w 5361951"/>
              <a:gd name="connsiteY5" fmla="*/ 1329799 h 132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61951" h="1329799">
                <a:moveTo>
                  <a:pt x="5227442" y="1329799"/>
                </a:moveTo>
                <a:lnTo>
                  <a:pt x="0" y="137759"/>
                </a:lnTo>
                <a:lnTo>
                  <a:pt x="172914" y="0"/>
                </a:lnTo>
                <a:lnTo>
                  <a:pt x="5358100" y="0"/>
                </a:lnTo>
                <a:lnTo>
                  <a:pt x="5361946" y="130476"/>
                </a:lnTo>
                <a:cubicBezTo>
                  <a:pt x="5362530" y="530275"/>
                  <a:pt x="5318262" y="932519"/>
                  <a:pt x="5227442" y="1329799"/>
                </a:cubicBezTo>
                <a:close/>
              </a:path>
            </a:pathLst>
          </a:custGeom>
          <a:solidFill>
            <a:schemeClr val="bg1">
              <a:alpha val="44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3" name="任意多边形: 形状 52"/>
          <p:cNvSpPr/>
          <p:nvPr/>
        </p:nvSpPr>
        <p:spPr bwMode="auto">
          <a:xfrm rot="10800000">
            <a:off x="5595882" y="5796248"/>
            <a:ext cx="4310060" cy="1069550"/>
          </a:xfrm>
          <a:custGeom>
            <a:avLst/>
            <a:gdLst>
              <a:gd name="connsiteX0" fmla="*/ 134511 w 5358807"/>
              <a:gd name="connsiteY0" fmla="*/ 1329799 h 1329799"/>
              <a:gd name="connsiteX1" fmla="*/ 5 w 5358807"/>
              <a:gd name="connsiteY1" fmla="*/ 130587 h 1329799"/>
              <a:gd name="connsiteX2" fmla="*/ 3840 w 5358807"/>
              <a:gd name="connsiteY2" fmla="*/ 0 h 1329799"/>
              <a:gd name="connsiteX3" fmla="*/ 5185987 w 5358807"/>
              <a:gd name="connsiteY3" fmla="*/ 0 h 1329799"/>
              <a:gd name="connsiteX4" fmla="*/ 5358807 w 5358807"/>
              <a:gd name="connsiteY4" fmla="*/ 137759 h 132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807" h="1329799">
                <a:moveTo>
                  <a:pt x="134511" y="1329799"/>
                </a:moveTo>
                <a:cubicBezTo>
                  <a:pt x="43732" y="932519"/>
                  <a:pt x="-541" y="530325"/>
                  <a:pt x="5" y="130587"/>
                </a:cubicBezTo>
                <a:lnTo>
                  <a:pt x="3840" y="0"/>
                </a:lnTo>
                <a:lnTo>
                  <a:pt x="5185987" y="0"/>
                </a:lnTo>
                <a:lnTo>
                  <a:pt x="5358807" y="137759"/>
                </a:lnTo>
                <a:close/>
              </a:path>
            </a:pathLst>
          </a:custGeom>
          <a:solidFill>
            <a:schemeClr val="bg1">
              <a:alpha val="47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1" name="任意多边形: 形状 60"/>
          <p:cNvSpPr/>
          <p:nvPr/>
        </p:nvSpPr>
        <p:spPr bwMode="auto">
          <a:xfrm rot="10800000">
            <a:off x="5595882" y="6754669"/>
            <a:ext cx="139445" cy="111129"/>
          </a:xfrm>
          <a:custGeom>
            <a:avLst/>
            <a:gdLst>
              <a:gd name="connsiteX0" fmla="*/ 173376 w 173376"/>
              <a:gd name="connsiteY0" fmla="*/ 138170 h 138170"/>
              <a:gd name="connsiteX1" fmla="*/ 0 w 173376"/>
              <a:gd name="connsiteY1" fmla="*/ 0 h 138170"/>
              <a:gd name="connsiteX2" fmla="*/ 173376 w 173376"/>
              <a:gd name="connsiteY2" fmla="*/ 0 h 138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3376" h="138170">
                <a:moveTo>
                  <a:pt x="173376" y="138170"/>
                </a:moveTo>
                <a:lnTo>
                  <a:pt x="0" y="0"/>
                </a:lnTo>
                <a:lnTo>
                  <a:pt x="173376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任意多边形: 形状 8"/>
          <p:cNvSpPr/>
          <p:nvPr/>
        </p:nvSpPr>
        <p:spPr bwMode="auto">
          <a:xfrm rot="10800000">
            <a:off x="3724301" y="2303341"/>
            <a:ext cx="3740503" cy="4451328"/>
          </a:xfrm>
          <a:custGeom>
            <a:avLst/>
            <a:gdLst>
              <a:gd name="T0" fmla="*/ 11705 w 11705"/>
              <a:gd name="T1" fmla="*/ 12152 h 13933"/>
              <a:gd name="T2" fmla="*/ 0 w 11705"/>
              <a:gd name="T3" fmla="*/ 12152 h 13933"/>
              <a:gd name="T4" fmla="*/ 5852 w 11705"/>
              <a:gd name="T5" fmla="*/ 0 h 13933"/>
              <a:gd name="T6" fmla="*/ 11705 w 11705"/>
              <a:gd name="T7" fmla="*/ 12152 h 139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705" h="13933">
                <a:moveTo>
                  <a:pt x="11705" y="12152"/>
                </a:moveTo>
                <a:cubicBezTo>
                  <a:pt x="8006" y="13933"/>
                  <a:pt x="3699" y="13933"/>
                  <a:pt x="0" y="12152"/>
                </a:cubicBezTo>
                <a:lnTo>
                  <a:pt x="5852" y="0"/>
                </a:lnTo>
                <a:lnTo>
                  <a:pt x="11705" y="12152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  <a:alpha val="3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/>
          <p:nvPr/>
        </p:nvSpPr>
        <p:spPr bwMode="auto">
          <a:xfrm rot="10800000">
            <a:off x="3055938" y="2873067"/>
            <a:ext cx="4203739" cy="3881600"/>
          </a:xfrm>
          <a:custGeom>
            <a:avLst/>
            <a:gdLst>
              <a:gd name="T0" fmla="*/ 6576 w 6576"/>
              <a:gd name="T1" fmla="*/ 1501 h 6076"/>
              <a:gd name="T2" fmla="*/ 2927 w 6576"/>
              <a:gd name="T3" fmla="*/ 6076 h 6076"/>
              <a:gd name="T4" fmla="*/ 0 w 6576"/>
              <a:gd name="T5" fmla="*/ 0 h 6076"/>
              <a:gd name="T6" fmla="*/ 6576 w 6576"/>
              <a:gd name="T7" fmla="*/ 1501 h 60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576" h="6076">
                <a:moveTo>
                  <a:pt x="6576" y="1501"/>
                </a:moveTo>
                <a:cubicBezTo>
                  <a:pt x="6119" y="3501"/>
                  <a:pt x="4776" y="5185"/>
                  <a:pt x="2927" y="6076"/>
                </a:cubicBezTo>
                <a:lnTo>
                  <a:pt x="0" y="0"/>
                </a:lnTo>
                <a:lnTo>
                  <a:pt x="6576" y="150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3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1" name="任意多边形: 形状 10"/>
          <p:cNvSpPr/>
          <p:nvPr/>
        </p:nvSpPr>
        <p:spPr bwMode="auto">
          <a:xfrm rot="10800000">
            <a:off x="5595883" y="2873067"/>
            <a:ext cx="4201076" cy="3881600"/>
          </a:xfrm>
          <a:custGeom>
            <a:avLst/>
            <a:gdLst>
              <a:gd name="T0" fmla="*/ 7298 w 13150"/>
              <a:gd name="T1" fmla="*/ 12152 h 12152"/>
              <a:gd name="T2" fmla="*/ 0 w 13150"/>
              <a:gd name="T3" fmla="*/ 3002 h 12152"/>
              <a:gd name="T4" fmla="*/ 13150 w 13150"/>
              <a:gd name="T5" fmla="*/ 0 h 12152"/>
              <a:gd name="T6" fmla="*/ 7298 w 13150"/>
              <a:gd name="T7" fmla="*/ 12152 h 12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150" h="12152">
                <a:moveTo>
                  <a:pt x="7298" y="12152"/>
                </a:moveTo>
                <a:cubicBezTo>
                  <a:pt x="3600" y="10371"/>
                  <a:pt x="913" y="7003"/>
                  <a:pt x="0" y="3002"/>
                </a:cubicBezTo>
                <a:lnTo>
                  <a:pt x="13150" y="0"/>
                </a:lnTo>
                <a:lnTo>
                  <a:pt x="7298" y="12152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4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2" name="弧形 11"/>
          <p:cNvSpPr/>
          <p:nvPr/>
        </p:nvSpPr>
        <p:spPr>
          <a:xfrm>
            <a:off x="1222501" y="2346821"/>
            <a:ext cx="8744099" cy="8744099"/>
          </a:xfrm>
          <a:prstGeom prst="arc">
            <a:avLst>
              <a:gd name="adj1" fmla="val 16423909"/>
              <a:gd name="adj2" fmla="val 19805273"/>
            </a:avLst>
          </a:prstGeom>
          <a:noFill/>
          <a:ln w="12700">
            <a:gradFill flip="none" rotWithShape="1">
              <a:gsLst>
                <a:gs pos="0">
                  <a:schemeClr val="accent1">
                    <a:lumMod val="60000"/>
                    <a:lumOff val="40000"/>
                    <a:alpha val="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2266547" y="4640538"/>
            <a:ext cx="18838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domestic</a:t>
            </a:r>
            <a:endParaRPr kumimoji="0" lang="zh-CN" altLang="en-US" sz="3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7248240" y="4640538"/>
            <a:ext cx="15055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abroad</a:t>
            </a:r>
            <a:endParaRPr kumimoji="0" lang="zh-CN" altLang="en-US" sz="3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598930" y="3696482"/>
            <a:ext cx="19912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Ourselves</a:t>
            </a:r>
          </a:p>
        </p:txBody>
      </p:sp>
      <p:sp>
        <p:nvSpPr>
          <p:cNvPr id="55" name="任意多边形: 形状 54"/>
          <p:cNvSpPr/>
          <p:nvPr/>
        </p:nvSpPr>
        <p:spPr>
          <a:xfrm>
            <a:off x="3701742" y="4829704"/>
            <a:ext cx="3785619" cy="2036095"/>
          </a:xfrm>
          <a:custGeom>
            <a:avLst/>
            <a:gdLst>
              <a:gd name="connsiteX0" fmla="*/ 2353378 w 4706756"/>
              <a:gd name="connsiteY0" fmla="*/ 0 h 2531529"/>
              <a:gd name="connsiteX1" fmla="*/ 4706756 w 4706756"/>
              <a:gd name="connsiteY1" fmla="*/ 2353378 h 2531529"/>
              <a:gd name="connsiteX2" fmla="*/ 4697760 w 4706756"/>
              <a:gd name="connsiteY2" fmla="*/ 2531529 h 2531529"/>
              <a:gd name="connsiteX3" fmla="*/ 8996 w 4706756"/>
              <a:gd name="connsiteY3" fmla="*/ 2531529 h 2531529"/>
              <a:gd name="connsiteX4" fmla="*/ 0 w 4706756"/>
              <a:gd name="connsiteY4" fmla="*/ 2353378 h 2531529"/>
              <a:gd name="connsiteX5" fmla="*/ 2353378 w 4706756"/>
              <a:gd name="connsiteY5" fmla="*/ 0 h 2531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06756" h="2531529">
                <a:moveTo>
                  <a:pt x="2353378" y="0"/>
                </a:moveTo>
                <a:cubicBezTo>
                  <a:pt x="3653113" y="0"/>
                  <a:pt x="4706756" y="1053643"/>
                  <a:pt x="4706756" y="2353378"/>
                </a:cubicBezTo>
                <a:lnTo>
                  <a:pt x="4697760" y="2531529"/>
                </a:lnTo>
                <a:lnTo>
                  <a:pt x="8996" y="2531529"/>
                </a:lnTo>
                <a:lnTo>
                  <a:pt x="0" y="2353378"/>
                </a:lnTo>
                <a:cubicBezTo>
                  <a:pt x="0" y="1053643"/>
                  <a:pt x="1053643" y="0"/>
                  <a:pt x="235337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90000"/>
                  <a:lumOff val="10000"/>
                </a:schemeClr>
              </a:gs>
              <a:gs pos="100000">
                <a:schemeClr val="accent1">
                  <a:lumMod val="91000"/>
                </a:schemeClr>
              </a:gs>
            </a:gsLst>
            <a:lin ang="18900000" scaled="1"/>
            <a:tileRect/>
          </a:gradFill>
          <a:ln w="857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20" name="弧形 19"/>
          <p:cNvSpPr/>
          <p:nvPr/>
        </p:nvSpPr>
        <p:spPr>
          <a:xfrm>
            <a:off x="1135409" y="2259729"/>
            <a:ext cx="8918284" cy="8918284"/>
          </a:xfrm>
          <a:prstGeom prst="arc">
            <a:avLst>
              <a:gd name="adj1" fmla="val 10619812"/>
              <a:gd name="adj2" fmla="val 17811984"/>
            </a:avLst>
          </a:prstGeom>
          <a:noFill/>
          <a:ln w="12700">
            <a:gradFill flip="none" rotWithShape="1">
              <a:gsLst>
                <a:gs pos="0">
                  <a:schemeClr val="accent1">
                    <a:lumMod val="60000"/>
                    <a:lumOff val="40000"/>
                    <a:alpha val="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21" name="弧形 20"/>
          <p:cNvSpPr/>
          <p:nvPr/>
        </p:nvSpPr>
        <p:spPr>
          <a:xfrm>
            <a:off x="1094551" y="2218871"/>
            <a:ext cx="9000000" cy="9000000"/>
          </a:xfrm>
          <a:prstGeom prst="arc">
            <a:avLst>
              <a:gd name="adj1" fmla="val 17928954"/>
              <a:gd name="adj2" fmla="val 21338320"/>
            </a:avLst>
          </a:prstGeom>
          <a:noFill/>
          <a:ln w="12700">
            <a:gradFill flip="none" rotWithShape="1">
              <a:gsLst>
                <a:gs pos="0">
                  <a:schemeClr val="accent1">
                    <a:lumMod val="60000"/>
                    <a:lumOff val="40000"/>
                    <a:alpha val="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22" name="任意多边形: 形状 21"/>
          <p:cNvSpPr>
            <a:spLocks noEditPoints="1"/>
          </p:cNvSpPr>
          <p:nvPr/>
        </p:nvSpPr>
        <p:spPr bwMode="auto">
          <a:xfrm>
            <a:off x="6568052" y="6176636"/>
            <a:ext cx="845084" cy="675932"/>
          </a:xfrm>
          <a:custGeom>
            <a:avLst/>
            <a:gdLst>
              <a:gd name="T0" fmla="*/ 251 w 526"/>
              <a:gd name="T1" fmla="*/ 164 h 420"/>
              <a:gd name="T2" fmla="*/ 292 w 526"/>
              <a:gd name="T3" fmla="*/ 36 h 420"/>
              <a:gd name="T4" fmla="*/ 301 w 526"/>
              <a:gd name="T5" fmla="*/ 83 h 420"/>
              <a:gd name="T6" fmla="*/ 263 w 526"/>
              <a:gd name="T7" fmla="*/ 162 h 420"/>
              <a:gd name="T8" fmla="*/ 380 w 526"/>
              <a:gd name="T9" fmla="*/ 11 h 420"/>
              <a:gd name="T10" fmla="*/ 392 w 526"/>
              <a:gd name="T11" fmla="*/ 64 h 420"/>
              <a:gd name="T12" fmla="*/ 344 w 526"/>
              <a:gd name="T13" fmla="*/ 115 h 420"/>
              <a:gd name="T14" fmla="*/ 403 w 526"/>
              <a:gd name="T15" fmla="*/ 80 h 420"/>
              <a:gd name="T16" fmla="*/ 525 w 526"/>
              <a:gd name="T17" fmla="*/ 67 h 420"/>
              <a:gd name="T18" fmla="*/ 381 w 526"/>
              <a:gd name="T19" fmla="*/ 107 h 420"/>
              <a:gd name="T20" fmla="*/ 381 w 526"/>
              <a:gd name="T21" fmla="*/ 142 h 420"/>
              <a:gd name="T22" fmla="*/ 434 w 526"/>
              <a:gd name="T23" fmla="*/ 179 h 420"/>
              <a:gd name="T24" fmla="*/ 300 w 526"/>
              <a:gd name="T25" fmla="*/ 147 h 420"/>
              <a:gd name="T26" fmla="*/ 223 w 526"/>
              <a:gd name="T27" fmla="*/ 203 h 420"/>
              <a:gd name="T28" fmla="*/ 350 w 526"/>
              <a:gd name="T29" fmla="*/ 225 h 420"/>
              <a:gd name="T30" fmla="*/ 234 w 526"/>
              <a:gd name="T31" fmla="*/ 215 h 420"/>
              <a:gd name="T32" fmla="*/ 138 w 526"/>
              <a:gd name="T33" fmla="*/ 284 h 420"/>
              <a:gd name="T34" fmla="*/ 223 w 526"/>
              <a:gd name="T35" fmla="*/ 264 h 420"/>
              <a:gd name="T36" fmla="*/ 283 w 526"/>
              <a:gd name="T37" fmla="*/ 294 h 420"/>
              <a:gd name="T38" fmla="*/ 148 w 526"/>
              <a:gd name="T39" fmla="*/ 294 h 420"/>
              <a:gd name="T40" fmla="*/ 7 w 526"/>
              <a:gd name="T41" fmla="*/ 417 h 420"/>
              <a:gd name="T42" fmla="*/ 80 w 526"/>
              <a:gd name="T43" fmla="*/ 338 h 420"/>
              <a:gd name="T44" fmla="*/ 109 w 526"/>
              <a:gd name="T45" fmla="*/ 180 h 420"/>
              <a:gd name="T46" fmla="*/ 132 w 526"/>
              <a:gd name="T47" fmla="*/ 212 h 420"/>
              <a:gd name="T48" fmla="*/ 167 w 526"/>
              <a:gd name="T49" fmla="*/ 239 h 420"/>
              <a:gd name="T50" fmla="*/ 209 w 526"/>
              <a:gd name="T51" fmla="*/ 83 h 420"/>
              <a:gd name="T52" fmla="*/ 193 w 526"/>
              <a:gd name="T53" fmla="*/ 208 h 420"/>
              <a:gd name="T54" fmla="*/ 121 w 526"/>
              <a:gd name="T55" fmla="*/ 173 h 420"/>
              <a:gd name="T56" fmla="*/ 84 w 526"/>
              <a:gd name="T57" fmla="*/ 329 h 420"/>
              <a:gd name="T58" fmla="*/ 105 w 526"/>
              <a:gd name="T59" fmla="*/ 237 h 420"/>
              <a:gd name="T60" fmla="*/ 121 w 526"/>
              <a:gd name="T61" fmla="*/ 173 h 420"/>
              <a:gd name="T62" fmla="*/ 285 w 526"/>
              <a:gd name="T63" fmla="*/ 96 h 420"/>
              <a:gd name="T64" fmla="*/ 271 w 526"/>
              <a:gd name="T65" fmla="*/ 291 h 420"/>
              <a:gd name="T66" fmla="*/ 271 w 526"/>
              <a:gd name="T67" fmla="*/ 291 h 420"/>
              <a:gd name="T68" fmla="*/ 376 w 526"/>
              <a:gd name="T69" fmla="*/ 59 h 420"/>
              <a:gd name="T70" fmla="*/ 380 w 526"/>
              <a:gd name="T71" fmla="*/ 16 h 420"/>
              <a:gd name="T72" fmla="*/ 123 w 526"/>
              <a:gd name="T73" fmla="*/ 180 h 420"/>
              <a:gd name="T74" fmla="*/ 98 w 526"/>
              <a:gd name="T75" fmla="*/ 311 h 420"/>
              <a:gd name="T76" fmla="*/ 124 w 526"/>
              <a:gd name="T77" fmla="*/ 178 h 420"/>
              <a:gd name="T78" fmla="*/ 386 w 526"/>
              <a:gd name="T79" fmla="*/ 105 h 420"/>
              <a:gd name="T80" fmla="*/ 428 w 526"/>
              <a:gd name="T81" fmla="*/ 176 h 420"/>
              <a:gd name="T82" fmla="*/ 319 w 526"/>
              <a:gd name="T83" fmla="*/ 145 h 420"/>
              <a:gd name="T84" fmla="*/ 227 w 526"/>
              <a:gd name="T85" fmla="*/ 209 h 420"/>
              <a:gd name="T86" fmla="*/ 343 w 526"/>
              <a:gd name="T87" fmla="*/ 224 h 420"/>
              <a:gd name="T88" fmla="*/ 227 w 526"/>
              <a:gd name="T89" fmla="*/ 209 h 420"/>
              <a:gd name="T90" fmla="*/ 431 w 526"/>
              <a:gd name="T91" fmla="*/ 83 h 420"/>
              <a:gd name="T92" fmla="*/ 271 w 526"/>
              <a:gd name="T93" fmla="*/ 287 h 420"/>
              <a:gd name="T94" fmla="*/ 146 w 526"/>
              <a:gd name="T95" fmla="*/ 283 h 420"/>
              <a:gd name="T96" fmla="*/ 246 w 526"/>
              <a:gd name="T97" fmla="*/ 282 h 420"/>
              <a:gd name="T98" fmla="*/ 282 w 526"/>
              <a:gd name="T99" fmla="*/ 209 h 420"/>
              <a:gd name="T100" fmla="*/ 339 w 526"/>
              <a:gd name="T101" fmla="*/ 220 h 420"/>
              <a:gd name="T102" fmla="*/ 355 w 526"/>
              <a:gd name="T103" fmla="*/ 102 h 420"/>
              <a:gd name="T104" fmla="*/ 207 w 526"/>
              <a:gd name="T105" fmla="*/ 109 h 420"/>
              <a:gd name="T106" fmla="*/ 294 w 526"/>
              <a:gd name="T107" fmla="*/ 50 h 420"/>
              <a:gd name="T108" fmla="*/ 296 w 526"/>
              <a:gd name="T109" fmla="*/ 62 h 420"/>
              <a:gd name="T110" fmla="*/ 414 w 526"/>
              <a:gd name="T111" fmla="*/ 164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6" h="420">
                <a:moveTo>
                  <a:pt x="185" y="222"/>
                </a:moveTo>
                <a:cubicBezTo>
                  <a:pt x="188" y="220"/>
                  <a:pt x="191" y="217"/>
                  <a:pt x="193" y="214"/>
                </a:cubicBezTo>
                <a:cubicBezTo>
                  <a:pt x="208" y="200"/>
                  <a:pt x="225" y="189"/>
                  <a:pt x="241" y="177"/>
                </a:cubicBezTo>
                <a:cubicBezTo>
                  <a:pt x="246" y="174"/>
                  <a:pt x="248" y="169"/>
                  <a:pt x="251" y="164"/>
                </a:cubicBezTo>
                <a:cubicBezTo>
                  <a:pt x="251" y="163"/>
                  <a:pt x="251" y="162"/>
                  <a:pt x="250" y="161"/>
                </a:cubicBezTo>
                <a:cubicBezTo>
                  <a:pt x="246" y="141"/>
                  <a:pt x="245" y="122"/>
                  <a:pt x="250" y="104"/>
                </a:cubicBezTo>
                <a:cubicBezTo>
                  <a:pt x="254" y="87"/>
                  <a:pt x="261" y="73"/>
                  <a:pt x="272" y="60"/>
                </a:cubicBezTo>
                <a:cubicBezTo>
                  <a:pt x="279" y="52"/>
                  <a:pt x="285" y="44"/>
                  <a:pt x="292" y="36"/>
                </a:cubicBezTo>
                <a:cubicBezTo>
                  <a:pt x="293" y="35"/>
                  <a:pt x="293" y="34"/>
                  <a:pt x="294" y="34"/>
                </a:cubicBezTo>
                <a:cubicBezTo>
                  <a:pt x="296" y="35"/>
                  <a:pt x="296" y="36"/>
                  <a:pt x="296" y="37"/>
                </a:cubicBezTo>
                <a:cubicBezTo>
                  <a:pt x="297" y="46"/>
                  <a:pt x="299" y="54"/>
                  <a:pt x="300" y="63"/>
                </a:cubicBezTo>
                <a:cubicBezTo>
                  <a:pt x="300" y="69"/>
                  <a:pt x="301" y="76"/>
                  <a:pt x="301" y="83"/>
                </a:cubicBezTo>
                <a:cubicBezTo>
                  <a:pt x="300" y="99"/>
                  <a:pt x="296" y="115"/>
                  <a:pt x="287" y="128"/>
                </a:cubicBezTo>
                <a:cubicBezTo>
                  <a:pt x="281" y="137"/>
                  <a:pt x="276" y="147"/>
                  <a:pt x="268" y="155"/>
                </a:cubicBezTo>
                <a:cubicBezTo>
                  <a:pt x="265" y="158"/>
                  <a:pt x="262" y="161"/>
                  <a:pt x="259" y="164"/>
                </a:cubicBezTo>
                <a:cubicBezTo>
                  <a:pt x="261" y="164"/>
                  <a:pt x="262" y="163"/>
                  <a:pt x="263" y="162"/>
                </a:cubicBezTo>
                <a:cubicBezTo>
                  <a:pt x="284" y="147"/>
                  <a:pt x="306" y="134"/>
                  <a:pt x="329" y="123"/>
                </a:cubicBezTo>
                <a:cubicBezTo>
                  <a:pt x="336" y="119"/>
                  <a:pt x="339" y="113"/>
                  <a:pt x="338" y="104"/>
                </a:cubicBezTo>
                <a:cubicBezTo>
                  <a:pt x="337" y="76"/>
                  <a:pt x="344" y="51"/>
                  <a:pt x="360" y="29"/>
                </a:cubicBezTo>
                <a:cubicBezTo>
                  <a:pt x="365" y="22"/>
                  <a:pt x="372" y="16"/>
                  <a:pt x="380" y="11"/>
                </a:cubicBezTo>
                <a:cubicBezTo>
                  <a:pt x="384" y="8"/>
                  <a:pt x="388" y="4"/>
                  <a:pt x="392" y="2"/>
                </a:cubicBezTo>
                <a:cubicBezTo>
                  <a:pt x="395" y="0"/>
                  <a:pt x="397" y="1"/>
                  <a:pt x="397" y="4"/>
                </a:cubicBezTo>
                <a:cubicBezTo>
                  <a:pt x="398" y="9"/>
                  <a:pt x="398" y="14"/>
                  <a:pt x="398" y="19"/>
                </a:cubicBezTo>
                <a:cubicBezTo>
                  <a:pt x="400" y="35"/>
                  <a:pt x="399" y="50"/>
                  <a:pt x="392" y="64"/>
                </a:cubicBezTo>
                <a:cubicBezTo>
                  <a:pt x="388" y="73"/>
                  <a:pt x="381" y="80"/>
                  <a:pt x="375" y="87"/>
                </a:cubicBezTo>
                <a:cubicBezTo>
                  <a:pt x="367" y="97"/>
                  <a:pt x="358" y="104"/>
                  <a:pt x="347" y="111"/>
                </a:cubicBezTo>
                <a:cubicBezTo>
                  <a:pt x="347" y="112"/>
                  <a:pt x="346" y="113"/>
                  <a:pt x="345" y="114"/>
                </a:cubicBezTo>
                <a:cubicBezTo>
                  <a:pt x="345" y="114"/>
                  <a:pt x="344" y="114"/>
                  <a:pt x="344" y="115"/>
                </a:cubicBezTo>
                <a:cubicBezTo>
                  <a:pt x="347" y="114"/>
                  <a:pt x="349" y="113"/>
                  <a:pt x="352" y="112"/>
                </a:cubicBezTo>
                <a:cubicBezTo>
                  <a:pt x="360" y="108"/>
                  <a:pt x="368" y="104"/>
                  <a:pt x="376" y="102"/>
                </a:cubicBezTo>
                <a:cubicBezTo>
                  <a:pt x="379" y="101"/>
                  <a:pt x="380" y="98"/>
                  <a:pt x="382" y="96"/>
                </a:cubicBezTo>
                <a:cubicBezTo>
                  <a:pt x="388" y="90"/>
                  <a:pt x="395" y="84"/>
                  <a:pt x="403" y="80"/>
                </a:cubicBezTo>
                <a:cubicBezTo>
                  <a:pt x="421" y="69"/>
                  <a:pt x="441" y="64"/>
                  <a:pt x="461" y="62"/>
                </a:cubicBezTo>
                <a:cubicBezTo>
                  <a:pt x="473" y="61"/>
                  <a:pt x="485" y="62"/>
                  <a:pt x="497" y="63"/>
                </a:cubicBezTo>
                <a:cubicBezTo>
                  <a:pt x="505" y="64"/>
                  <a:pt x="514" y="65"/>
                  <a:pt x="522" y="66"/>
                </a:cubicBezTo>
                <a:cubicBezTo>
                  <a:pt x="523" y="66"/>
                  <a:pt x="525" y="66"/>
                  <a:pt x="525" y="67"/>
                </a:cubicBezTo>
                <a:cubicBezTo>
                  <a:pt x="526" y="69"/>
                  <a:pt x="525" y="70"/>
                  <a:pt x="523" y="70"/>
                </a:cubicBezTo>
                <a:cubicBezTo>
                  <a:pt x="504" y="84"/>
                  <a:pt x="484" y="97"/>
                  <a:pt x="461" y="104"/>
                </a:cubicBezTo>
                <a:cubicBezTo>
                  <a:pt x="436" y="111"/>
                  <a:pt x="410" y="114"/>
                  <a:pt x="384" y="107"/>
                </a:cubicBezTo>
                <a:cubicBezTo>
                  <a:pt x="383" y="106"/>
                  <a:pt x="382" y="106"/>
                  <a:pt x="381" y="107"/>
                </a:cubicBezTo>
                <a:cubicBezTo>
                  <a:pt x="367" y="114"/>
                  <a:pt x="352" y="120"/>
                  <a:pt x="337" y="127"/>
                </a:cubicBezTo>
                <a:cubicBezTo>
                  <a:pt x="331" y="130"/>
                  <a:pt x="324" y="134"/>
                  <a:pt x="318" y="138"/>
                </a:cubicBezTo>
                <a:cubicBezTo>
                  <a:pt x="322" y="137"/>
                  <a:pt x="325" y="137"/>
                  <a:pt x="329" y="137"/>
                </a:cubicBezTo>
                <a:cubicBezTo>
                  <a:pt x="347" y="135"/>
                  <a:pt x="364" y="136"/>
                  <a:pt x="381" y="142"/>
                </a:cubicBezTo>
                <a:cubicBezTo>
                  <a:pt x="396" y="147"/>
                  <a:pt x="409" y="154"/>
                  <a:pt x="421" y="164"/>
                </a:cubicBezTo>
                <a:cubicBezTo>
                  <a:pt x="425" y="167"/>
                  <a:pt x="430" y="170"/>
                  <a:pt x="435" y="174"/>
                </a:cubicBezTo>
                <a:cubicBezTo>
                  <a:pt x="435" y="175"/>
                  <a:pt x="437" y="176"/>
                  <a:pt x="436" y="177"/>
                </a:cubicBezTo>
                <a:cubicBezTo>
                  <a:pt x="436" y="179"/>
                  <a:pt x="435" y="178"/>
                  <a:pt x="434" y="179"/>
                </a:cubicBezTo>
                <a:cubicBezTo>
                  <a:pt x="418" y="183"/>
                  <a:pt x="402" y="182"/>
                  <a:pt x="386" y="179"/>
                </a:cubicBezTo>
                <a:cubicBezTo>
                  <a:pt x="368" y="176"/>
                  <a:pt x="351" y="170"/>
                  <a:pt x="335" y="160"/>
                </a:cubicBezTo>
                <a:cubicBezTo>
                  <a:pt x="328" y="156"/>
                  <a:pt x="322" y="152"/>
                  <a:pt x="316" y="147"/>
                </a:cubicBezTo>
                <a:cubicBezTo>
                  <a:pt x="310" y="143"/>
                  <a:pt x="305" y="144"/>
                  <a:pt x="300" y="147"/>
                </a:cubicBezTo>
                <a:cubicBezTo>
                  <a:pt x="294" y="150"/>
                  <a:pt x="289" y="153"/>
                  <a:pt x="283" y="157"/>
                </a:cubicBezTo>
                <a:cubicBezTo>
                  <a:pt x="264" y="169"/>
                  <a:pt x="247" y="182"/>
                  <a:pt x="229" y="195"/>
                </a:cubicBezTo>
                <a:cubicBezTo>
                  <a:pt x="226" y="197"/>
                  <a:pt x="222" y="200"/>
                  <a:pt x="219" y="203"/>
                </a:cubicBezTo>
                <a:cubicBezTo>
                  <a:pt x="221" y="204"/>
                  <a:pt x="222" y="203"/>
                  <a:pt x="223" y="203"/>
                </a:cubicBezTo>
                <a:cubicBezTo>
                  <a:pt x="236" y="196"/>
                  <a:pt x="249" y="192"/>
                  <a:pt x="264" y="191"/>
                </a:cubicBezTo>
                <a:cubicBezTo>
                  <a:pt x="283" y="189"/>
                  <a:pt x="302" y="194"/>
                  <a:pt x="320" y="204"/>
                </a:cubicBezTo>
                <a:cubicBezTo>
                  <a:pt x="329" y="210"/>
                  <a:pt x="339" y="215"/>
                  <a:pt x="348" y="222"/>
                </a:cubicBezTo>
                <a:cubicBezTo>
                  <a:pt x="349" y="223"/>
                  <a:pt x="350" y="223"/>
                  <a:pt x="350" y="225"/>
                </a:cubicBezTo>
                <a:cubicBezTo>
                  <a:pt x="350" y="226"/>
                  <a:pt x="349" y="226"/>
                  <a:pt x="347" y="226"/>
                </a:cubicBezTo>
                <a:cubicBezTo>
                  <a:pt x="343" y="228"/>
                  <a:pt x="338" y="230"/>
                  <a:pt x="334" y="232"/>
                </a:cubicBezTo>
                <a:cubicBezTo>
                  <a:pt x="315" y="240"/>
                  <a:pt x="295" y="239"/>
                  <a:pt x="275" y="231"/>
                </a:cubicBezTo>
                <a:cubicBezTo>
                  <a:pt x="261" y="226"/>
                  <a:pt x="248" y="221"/>
                  <a:pt x="234" y="215"/>
                </a:cubicBezTo>
                <a:cubicBezTo>
                  <a:pt x="229" y="212"/>
                  <a:pt x="224" y="210"/>
                  <a:pt x="219" y="209"/>
                </a:cubicBezTo>
                <a:cubicBezTo>
                  <a:pt x="215" y="208"/>
                  <a:pt x="211" y="209"/>
                  <a:pt x="208" y="211"/>
                </a:cubicBezTo>
                <a:cubicBezTo>
                  <a:pt x="194" y="223"/>
                  <a:pt x="181" y="236"/>
                  <a:pt x="168" y="250"/>
                </a:cubicBezTo>
                <a:cubicBezTo>
                  <a:pt x="158" y="261"/>
                  <a:pt x="148" y="272"/>
                  <a:pt x="138" y="284"/>
                </a:cubicBezTo>
                <a:cubicBezTo>
                  <a:pt x="138" y="284"/>
                  <a:pt x="138" y="284"/>
                  <a:pt x="137" y="285"/>
                </a:cubicBezTo>
                <a:cubicBezTo>
                  <a:pt x="139" y="285"/>
                  <a:pt x="139" y="284"/>
                  <a:pt x="140" y="284"/>
                </a:cubicBezTo>
                <a:cubicBezTo>
                  <a:pt x="147" y="278"/>
                  <a:pt x="154" y="273"/>
                  <a:pt x="162" y="270"/>
                </a:cubicBezTo>
                <a:cubicBezTo>
                  <a:pt x="181" y="262"/>
                  <a:pt x="202" y="262"/>
                  <a:pt x="223" y="264"/>
                </a:cubicBezTo>
                <a:cubicBezTo>
                  <a:pt x="242" y="267"/>
                  <a:pt x="260" y="273"/>
                  <a:pt x="276" y="285"/>
                </a:cubicBezTo>
                <a:cubicBezTo>
                  <a:pt x="278" y="287"/>
                  <a:pt x="281" y="288"/>
                  <a:pt x="283" y="290"/>
                </a:cubicBezTo>
                <a:cubicBezTo>
                  <a:pt x="284" y="291"/>
                  <a:pt x="285" y="291"/>
                  <a:pt x="285" y="292"/>
                </a:cubicBezTo>
                <a:cubicBezTo>
                  <a:pt x="285" y="293"/>
                  <a:pt x="284" y="294"/>
                  <a:pt x="283" y="294"/>
                </a:cubicBezTo>
                <a:cubicBezTo>
                  <a:pt x="271" y="293"/>
                  <a:pt x="261" y="299"/>
                  <a:pt x="251" y="302"/>
                </a:cubicBezTo>
                <a:cubicBezTo>
                  <a:pt x="244" y="304"/>
                  <a:pt x="237" y="306"/>
                  <a:pt x="230" y="308"/>
                </a:cubicBezTo>
                <a:cubicBezTo>
                  <a:pt x="215" y="313"/>
                  <a:pt x="199" y="311"/>
                  <a:pt x="183" y="308"/>
                </a:cubicBezTo>
                <a:cubicBezTo>
                  <a:pt x="170" y="305"/>
                  <a:pt x="159" y="301"/>
                  <a:pt x="148" y="294"/>
                </a:cubicBezTo>
                <a:cubicBezTo>
                  <a:pt x="139" y="289"/>
                  <a:pt x="131" y="292"/>
                  <a:pt x="126" y="297"/>
                </a:cubicBezTo>
                <a:cubicBezTo>
                  <a:pt x="105" y="319"/>
                  <a:pt x="87" y="344"/>
                  <a:pt x="66" y="366"/>
                </a:cubicBezTo>
                <a:cubicBezTo>
                  <a:pt x="51" y="382"/>
                  <a:pt x="35" y="397"/>
                  <a:pt x="18" y="410"/>
                </a:cubicBezTo>
                <a:cubicBezTo>
                  <a:pt x="15" y="413"/>
                  <a:pt x="11" y="415"/>
                  <a:pt x="7" y="417"/>
                </a:cubicBezTo>
                <a:cubicBezTo>
                  <a:pt x="5" y="418"/>
                  <a:pt x="2" y="420"/>
                  <a:pt x="1" y="417"/>
                </a:cubicBezTo>
                <a:cubicBezTo>
                  <a:pt x="0" y="415"/>
                  <a:pt x="2" y="413"/>
                  <a:pt x="4" y="412"/>
                </a:cubicBezTo>
                <a:cubicBezTo>
                  <a:pt x="13" y="406"/>
                  <a:pt x="21" y="399"/>
                  <a:pt x="29" y="392"/>
                </a:cubicBezTo>
                <a:cubicBezTo>
                  <a:pt x="48" y="376"/>
                  <a:pt x="63" y="357"/>
                  <a:pt x="80" y="338"/>
                </a:cubicBezTo>
                <a:cubicBezTo>
                  <a:pt x="81" y="337"/>
                  <a:pt x="81" y="336"/>
                  <a:pt x="81" y="334"/>
                </a:cubicBezTo>
                <a:cubicBezTo>
                  <a:pt x="79" y="318"/>
                  <a:pt x="74" y="303"/>
                  <a:pt x="72" y="287"/>
                </a:cubicBezTo>
                <a:cubicBezTo>
                  <a:pt x="69" y="261"/>
                  <a:pt x="71" y="237"/>
                  <a:pt x="83" y="215"/>
                </a:cubicBezTo>
                <a:cubicBezTo>
                  <a:pt x="90" y="202"/>
                  <a:pt x="99" y="191"/>
                  <a:pt x="109" y="180"/>
                </a:cubicBezTo>
                <a:cubicBezTo>
                  <a:pt x="114" y="176"/>
                  <a:pt x="118" y="172"/>
                  <a:pt x="122" y="167"/>
                </a:cubicBezTo>
                <a:cubicBezTo>
                  <a:pt x="123" y="166"/>
                  <a:pt x="123" y="166"/>
                  <a:pt x="125" y="166"/>
                </a:cubicBezTo>
                <a:cubicBezTo>
                  <a:pt x="126" y="167"/>
                  <a:pt x="126" y="168"/>
                  <a:pt x="126" y="168"/>
                </a:cubicBezTo>
                <a:cubicBezTo>
                  <a:pt x="126" y="183"/>
                  <a:pt x="130" y="197"/>
                  <a:pt x="132" y="212"/>
                </a:cubicBezTo>
                <a:cubicBezTo>
                  <a:pt x="136" y="242"/>
                  <a:pt x="128" y="268"/>
                  <a:pt x="114" y="293"/>
                </a:cubicBezTo>
                <a:cubicBezTo>
                  <a:pt x="112" y="297"/>
                  <a:pt x="110" y="301"/>
                  <a:pt x="108" y="305"/>
                </a:cubicBezTo>
                <a:cubicBezTo>
                  <a:pt x="111" y="302"/>
                  <a:pt x="114" y="299"/>
                  <a:pt x="117" y="296"/>
                </a:cubicBezTo>
                <a:cubicBezTo>
                  <a:pt x="134" y="277"/>
                  <a:pt x="150" y="258"/>
                  <a:pt x="167" y="239"/>
                </a:cubicBezTo>
                <a:cubicBezTo>
                  <a:pt x="171" y="236"/>
                  <a:pt x="172" y="232"/>
                  <a:pt x="171" y="226"/>
                </a:cubicBezTo>
                <a:cubicBezTo>
                  <a:pt x="167" y="209"/>
                  <a:pt x="167" y="193"/>
                  <a:pt x="169" y="176"/>
                </a:cubicBezTo>
                <a:cubicBezTo>
                  <a:pt x="173" y="151"/>
                  <a:pt x="180" y="128"/>
                  <a:pt x="193" y="107"/>
                </a:cubicBezTo>
                <a:cubicBezTo>
                  <a:pt x="198" y="99"/>
                  <a:pt x="203" y="91"/>
                  <a:pt x="209" y="83"/>
                </a:cubicBezTo>
                <a:cubicBezTo>
                  <a:pt x="209" y="82"/>
                  <a:pt x="210" y="81"/>
                  <a:pt x="211" y="81"/>
                </a:cubicBezTo>
                <a:cubicBezTo>
                  <a:pt x="212" y="82"/>
                  <a:pt x="213" y="83"/>
                  <a:pt x="213" y="84"/>
                </a:cubicBezTo>
                <a:cubicBezTo>
                  <a:pt x="211" y="99"/>
                  <a:pt x="214" y="115"/>
                  <a:pt x="214" y="131"/>
                </a:cubicBezTo>
                <a:cubicBezTo>
                  <a:pt x="213" y="159"/>
                  <a:pt x="205" y="184"/>
                  <a:pt x="193" y="208"/>
                </a:cubicBezTo>
                <a:cubicBezTo>
                  <a:pt x="191" y="210"/>
                  <a:pt x="190" y="213"/>
                  <a:pt x="189" y="215"/>
                </a:cubicBezTo>
                <a:cubicBezTo>
                  <a:pt x="187" y="218"/>
                  <a:pt x="186" y="220"/>
                  <a:pt x="184" y="222"/>
                </a:cubicBezTo>
                <a:cubicBezTo>
                  <a:pt x="184" y="222"/>
                  <a:pt x="184" y="222"/>
                  <a:pt x="185" y="222"/>
                </a:cubicBezTo>
                <a:close/>
                <a:moveTo>
                  <a:pt x="121" y="173"/>
                </a:moveTo>
                <a:cubicBezTo>
                  <a:pt x="120" y="173"/>
                  <a:pt x="119" y="174"/>
                  <a:pt x="119" y="175"/>
                </a:cubicBezTo>
                <a:cubicBezTo>
                  <a:pt x="114" y="181"/>
                  <a:pt x="108" y="187"/>
                  <a:pt x="102" y="194"/>
                </a:cubicBezTo>
                <a:cubicBezTo>
                  <a:pt x="82" y="218"/>
                  <a:pt x="73" y="246"/>
                  <a:pt x="76" y="279"/>
                </a:cubicBezTo>
                <a:cubicBezTo>
                  <a:pt x="77" y="296"/>
                  <a:pt x="81" y="312"/>
                  <a:pt x="84" y="329"/>
                </a:cubicBezTo>
                <a:cubicBezTo>
                  <a:pt x="84" y="329"/>
                  <a:pt x="85" y="329"/>
                  <a:pt x="85" y="330"/>
                </a:cubicBezTo>
                <a:cubicBezTo>
                  <a:pt x="88" y="322"/>
                  <a:pt x="91" y="314"/>
                  <a:pt x="93" y="306"/>
                </a:cubicBezTo>
                <a:cubicBezTo>
                  <a:pt x="96" y="293"/>
                  <a:pt x="98" y="280"/>
                  <a:pt x="99" y="266"/>
                </a:cubicBezTo>
                <a:cubicBezTo>
                  <a:pt x="101" y="257"/>
                  <a:pt x="101" y="247"/>
                  <a:pt x="105" y="237"/>
                </a:cubicBezTo>
                <a:cubicBezTo>
                  <a:pt x="106" y="233"/>
                  <a:pt x="107" y="229"/>
                  <a:pt x="107" y="225"/>
                </a:cubicBezTo>
                <a:cubicBezTo>
                  <a:pt x="107" y="221"/>
                  <a:pt x="108" y="217"/>
                  <a:pt x="108" y="213"/>
                </a:cubicBezTo>
                <a:cubicBezTo>
                  <a:pt x="111" y="202"/>
                  <a:pt x="115" y="192"/>
                  <a:pt x="119" y="181"/>
                </a:cubicBezTo>
                <a:cubicBezTo>
                  <a:pt x="120" y="179"/>
                  <a:pt x="121" y="176"/>
                  <a:pt x="121" y="173"/>
                </a:cubicBezTo>
                <a:close/>
                <a:moveTo>
                  <a:pt x="292" y="40"/>
                </a:moveTo>
                <a:cubicBezTo>
                  <a:pt x="279" y="56"/>
                  <a:pt x="266" y="73"/>
                  <a:pt x="259" y="93"/>
                </a:cubicBezTo>
                <a:cubicBezTo>
                  <a:pt x="252" y="113"/>
                  <a:pt x="250" y="144"/>
                  <a:pt x="254" y="159"/>
                </a:cubicBezTo>
                <a:cubicBezTo>
                  <a:pt x="266" y="138"/>
                  <a:pt x="278" y="118"/>
                  <a:pt x="285" y="96"/>
                </a:cubicBezTo>
                <a:cubicBezTo>
                  <a:pt x="285" y="95"/>
                  <a:pt x="285" y="94"/>
                  <a:pt x="285" y="93"/>
                </a:cubicBezTo>
                <a:cubicBezTo>
                  <a:pt x="286" y="82"/>
                  <a:pt x="288" y="70"/>
                  <a:pt x="290" y="59"/>
                </a:cubicBezTo>
                <a:cubicBezTo>
                  <a:pt x="291" y="53"/>
                  <a:pt x="292" y="46"/>
                  <a:pt x="292" y="40"/>
                </a:cubicBezTo>
                <a:close/>
                <a:moveTo>
                  <a:pt x="271" y="291"/>
                </a:moveTo>
                <a:cubicBezTo>
                  <a:pt x="228" y="279"/>
                  <a:pt x="186" y="282"/>
                  <a:pt x="145" y="290"/>
                </a:cubicBezTo>
                <a:cubicBezTo>
                  <a:pt x="153" y="292"/>
                  <a:pt x="160" y="297"/>
                  <a:pt x="167" y="299"/>
                </a:cubicBezTo>
                <a:cubicBezTo>
                  <a:pt x="192" y="306"/>
                  <a:pt x="216" y="309"/>
                  <a:pt x="240" y="301"/>
                </a:cubicBezTo>
                <a:cubicBezTo>
                  <a:pt x="250" y="297"/>
                  <a:pt x="261" y="294"/>
                  <a:pt x="271" y="291"/>
                </a:cubicBezTo>
                <a:close/>
                <a:moveTo>
                  <a:pt x="342" y="108"/>
                </a:moveTo>
                <a:cubicBezTo>
                  <a:pt x="343" y="108"/>
                  <a:pt x="343" y="107"/>
                  <a:pt x="344" y="106"/>
                </a:cubicBezTo>
                <a:cubicBezTo>
                  <a:pt x="348" y="100"/>
                  <a:pt x="352" y="95"/>
                  <a:pt x="355" y="89"/>
                </a:cubicBezTo>
                <a:cubicBezTo>
                  <a:pt x="362" y="79"/>
                  <a:pt x="369" y="69"/>
                  <a:pt x="376" y="59"/>
                </a:cubicBezTo>
                <a:cubicBezTo>
                  <a:pt x="384" y="47"/>
                  <a:pt x="390" y="33"/>
                  <a:pt x="393" y="18"/>
                </a:cubicBezTo>
                <a:cubicBezTo>
                  <a:pt x="394" y="14"/>
                  <a:pt x="394" y="10"/>
                  <a:pt x="393" y="5"/>
                </a:cubicBezTo>
                <a:cubicBezTo>
                  <a:pt x="390" y="10"/>
                  <a:pt x="385" y="12"/>
                  <a:pt x="381" y="15"/>
                </a:cubicBezTo>
                <a:cubicBezTo>
                  <a:pt x="381" y="16"/>
                  <a:pt x="380" y="16"/>
                  <a:pt x="380" y="16"/>
                </a:cubicBezTo>
                <a:cubicBezTo>
                  <a:pt x="375" y="21"/>
                  <a:pt x="371" y="26"/>
                  <a:pt x="366" y="31"/>
                </a:cubicBezTo>
                <a:cubicBezTo>
                  <a:pt x="347" y="52"/>
                  <a:pt x="341" y="78"/>
                  <a:pt x="342" y="108"/>
                </a:cubicBezTo>
                <a:close/>
                <a:moveTo>
                  <a:pt x="124" y="178"/>
                </a:moveTo>
                <a:cubicBezTo>
                  <a:pt x="123" y="178"/>
                  <a:pt x="123" y="179"/>
                  <a:pt x="123" y="180"/>
                </a:cubicBezTo>
                <a:cubicBezTo>
                  <a:pt x="121" y="186"/>
                  <a:pt x="120" y="192"/>
                  <a:pt x="117" y="198"/>
                </a:cubicBezTo>
                <a:cubicBezTo>
                  <a:pt x="111" y="216"/>
                  <a:pt x="107" y="234"/>
                  <a:pt x="106" y="253"/>
                </a:cubicBezTo>
                <a:cubicBezTo>
                  <a:pt x="104" y="272"/>
                  <a:pt x="103" y="292"/>
                  <a:pt x="98" y="310"/>
                </a:cubicBezTo>
                <a:cubicBezTo>
                  <a:pt x="98" y="310"/>
                  <a:pt x="98" y="311"/>
                  <a:pt x="98" y="311"/>
                </a:cubicBezTo>
                <a:cubicBezTo>
                  <a:pt x="109" y="295"/>
                  <a:pt x="120" y="279"/>
                  <a:pt x="125" y="260"/>
                </a:cubicBezTo>
                <a:cubicBezTo>
                  <a:pt x="128" y="248"/>
                  <a:pt x="131" y="236"/>
                  <a:pt x="128" y="223"/>
                </a:cubicBezTo>
                <a:cubicBezTo>
                  <a:pt x="126" y="214"/>
                  <a:pt x="125" y="205"/>
                  <a:pt x="125" y="195"/>
                </a:cubicBezTo>
                <a:cubicBezTo>
                  <a:pt x="124" y="190"/>
                  <a:pt x="124" y="184"/>
                  <a:pt x="124" y="178"/>
                </a:cubicBezTo>
                <a:close/>
                <a:moveTo>
                  <a:pt x="386" y="105"/>
                </a:moveTo>
                <a:cubicBezTo>
                  <a:pt x="411" y="108"/>
                  <a:pt x="436" y="109"/>
                  <a:pt x="460" y="103"/>
                </a:cubicBezTo>
                <a:cubicBezTo>
                  <a:pt x="481" y="97"/>
                  <a:pt x="498" y="84"/>
                  <a:pt x="515" y="72"/>
                </a:cubicBezTo>
                <a:cubicBezTo>
                  <a:pt x="471" y="79"/>
                  <a:pt x="427" y="87"/>
                  <a:pt x="386" y="105"/>
                </a:cubicBezTo>
                <a:close/>
                <a:moveTo>
                  <a:pt x="319" y="145"/>
                </a:moveTo>
                <a:cubicBezTo>
                  <a:pt x="327" y="150"/>
                  <a:pt x="333" y="155"/>
                  <a:pt x="340" y="159"/>
                </a:cubicBezTo>
                <a:cubicBezTo>
                  <a:pt x="362" y="173"/>
                  <a:pt x="386" y="179"/>
                  <a:pt x="411" y="179"/>
                </a:cubicBezTo>
                <a:cubicBezTo>
                  <a:pt x="417" y="179"/>
                  <a:pt x="423" y="179"/>
                  <a:pt x="428" y="176"/>
                </a:cubicBezTo>
                <a:cubicBezTo>
                  <a:pt x="427" y="175"/>
                  <a:pt x="426" y="175"/>
                  <a:pt x="426" y="175"/>
                </a:cubicBezTo>
                <a:cubicBezTo>
                  <a:pt x="412" y="165"/>
                  <a:pt x="396" y="161"/>
                  <a:pt x="380" y="156"/>
                </a:cubicBezTo>
                <a:cubicBezTo>
                  <a:pt x="363" y="150"/>
                  <a:pt x="345" y="148"/>
                  <a:pt x="328" y="146"/>
                </a:cubicBezTo>
                <a:cubicBezTo>
                  <a:pt x="325" y="145"/>
                  <a:pt x="323" y="145"/>
                  <a:pt x="319" y="145"/>
                </a:cubicBezTo>
                <a:close/>
                <a:moveTo>
                  <a:pt x="173" y="225"/>
                </a:moveTo>
                <a:cubicBezTo>
                  <a:pt x="181" y="213"/>
                  <a:pt x="206" y="108"/>
                  <a:pt x="205" y="96"/>
                </a:cubicBezTo>
                <a:cubicBezTo>
                  <a:pt x="179" y="134"/>
                  <a:pt x="168" y="177"/>
                  <a:pt x="173" y="225"/>
                </a:cubicBezTo>
                <a:close/>
                <a:moveTo>
                  <a:pt x="227" y="209"/>
                </a:moveTo>
                <a:cubicBezTo>
                  <a:pt x="233" y="211"/>
                  <a:pt x="239" y="214"/>
                  <a:pt x="245" y="216"/>
                </a:cubicBezTo>
                <a:cubicBezTo>
                  <a:pt x="258" y="222"/>
                  <a:pt x="271" y="228"/>
                  <a:pt x="284" y="231"/>
                </a:cubicBezTo>
                <a:cubicBezTo>
                  <a:pt x="304" y="236"/>
                  <a:pt x="322" y="236"/>
                  <a:pt x="339" y="227"/>
                </a:cubicBezTo>
                <a:cubicBezTo>
                  <a:pt x="341" y="226"/>
                  <a:pt x="342" y="226"/>
                  <a:pt x="343" y="224"/>
                </a:cubicBezTo>
                <a:cubicBezTo>
                  <a:pt x="341" y="223"/>
                  <a:pt x="339" y="223"/>
                  <a:pt x="338" y="223"/>
                </a:cubicBezTo>
                <a:cubicBezTo>
                  <a:pt x="330" y="222"/>
                  <a:pt x="321" y="221"/>
                  <a:pt x="313" y="219"/>
                </a:cubicBezTo>
                <a:cubicBezTo>
                  <a:pt x="294" y="215"/>
                  <a:pt x="275" y="211"/>
                  <a:pt x="256" y="209"/>
                </a:cubicBezTo>
                <a:cubicBezTo>
                  <a:pt x="246" y="209"/>
                  <a:pt x="237" y="208"/>
                  <a:pt x="227" y="209"/>
                </a:cubicBezTo>
                <a:close/>
                <a:moveTo>
                  <a:pt x="517" y="69"/>
                </a:moveTo>
                <a:cubicBezTo>
                  <a:pt x="466" y="59"/>
                  <a:pt x="421" y="68"/>
                  <a:pt x="383" y="99"/>
                </a:cubicBezTo>
                <a:cubicBezTo>
                  <a:pt x="384" y="99"/>
                  <a:pt x="385" y="99"/>
                  <a:pt x="386" y="98"/>
                </a:cubicBezTo>
                <a:cubicBezTo>
                  <a:pt x="400" y="91"/>
                  <a:pt x="415" y="87"/>
                  <a:pt x="431" y="83"/>
                </a:cubicBezTo>
                <a:cubicBezTo>
                  <a:pt x="446" y="80"/>
                  <a:pt x="463" y="80"/>
                  <a:pt x="478" y="76"/>
                </a:cubicBezTo>
                <a:cubicBezTo>
                  <a:pt x="486" y="74"/>
                  <a:pt x="493" y="73"/>
                  <a:pt x="501" y="72"/>
                </a:cubicBezTo>
                <a:cubicBezTo>
                  <a:pt x="506" y="72"/>
                  <a:pt x="512" y="71"/>
                  <a:pt x="517" y="69"/>
                </a:cubicBezTo>
                <a:close/>
                <a:moveTo>
                  <a:pt x="271" y="287"/>
                </a:moveTo>
                <a:cubicBezTo>
                  <a:pt x="265" y="283"/>
                  <a:pt x="259" y="279"/>
                  <a:pt x="253" y="276"/>
                </a:cubicBezTo>
                <a:cubicBezTo>
                  <a:pt x="240" y="271"/>
                  <a:pt x="226" y="269"/>
                  <a:pt x="212" y="268"/>
                </a:cubicBezTo>
                <a:cubicBezTo>
                  <a:pt x="195" y="267"/>
                  <a:pt x="178" y="267"/>
                  <a:pt x="163" y="273"/>
                </a:cubicBezTo>
                <a:cubicBezTo>
                  <a:pt x="157" y="275"/>
                  <a:pt x="151" y="279"/>
                  <a:pt x="146" y="283"/>
                </a:cubicBezTo>
                <a:cubicBezTo>
                  <a:pt x="147" y="283"/>
                  <a:pt x="148" y="283"/>
                  <a:pt x="148" y="283"/>
                </a:cubicBezTo>
                <a:cubicBezTo>
                  <a:pt x="165" y="279"/>
                  <a:pt x="181" y="278"/>
                  <a:pt x="198" y="279"/>
                </a:cubicBezTo>
                <a:cubicBezTo>
                  <a:pt x="205" y="280"/>
                  <a:pt x="211" y="281"/>
                  <a:pt x="217" y="281"/>
                </a:cubicBezTo>
                <a:cubicBezTo>
                  <a:pt x="227" y="280"/>
                  <a:pt x="236" y="281"/>
                  <a:pt x="246" y="282"/>
                </a:cubicBezTo>
                <a:cubicBezTo>
                  <a:pt x="255" y="284"/>
                  <a:pt x="263" y="285"/>
                  <a:pt x="271" y="287"/>
                </a:cubicBezTo>
                <a:close/>
                <a:moveTo>
                  <a:pt x="232" y="203"/>
                </a:moveTo>
                <a:cubicBezTo>
                  <a:pt x="234" y="204"/>
                  <a:pt x="235" y="203"/>
                  <a:pt x="236" y="203"/>
                </a:cubicBezTo>
                <a:cubicBezTo>
                  <a:pt x="251" y="205"/>
                  <a:pt x="266" y="206"/>
                  <a:pt x="282" y="209"/>
                </a:cubicBezTo>
                <a:cubicBezTo>
                  <a:pt x="286" y="210"/>
                  <a:pt x="290" y="211"/>
                  <a:pt x="294" y="211"/>
                </a:cubicBezTo>
                <a:cubicBezTo>
                  <a:pt x="298" y="211"/>
                  <a:pt x="301" y="212"/>
                  <a:pt x="305" y="213"/>
                </a:cubicBezTo>
                <a:cubicBezTo>
                  <a:pt x="312" y="215"/>
                  <a:pt x="319" y="217"/>
                  <a:pt x="326" y="218"/>
                </a:cubicBezTo>
                <a:cubicBezTo>
                  <a:pt x="330" y="219"/>
                  <a:pt x="335" y="220"/>
                  <a:pt x="339" y="220"/>
                </a:cubicBezTo>
                <a:cubicBezTo>
                  <a:pt x="304" y="193"/>
                  <a:pt x="261" y="186"/>
                  <a:pt x="232" y="203"/>
                </a:cubicBezTo>
                <a:close/>
                <a:moveTo>
                  <a:pt x="396" y="18"/>
                </a:moveTo>
                <a:cubicBezTo>
                  <a:pt x="388" y="51"/>
                  <a:pt x="369" y="76"/>
                  <a:pt x="353" y="104"/>
                </a:cubicBezTo>
                <a:cubicBezTo>
                  <a:pt x="354" y="103"/>
                  <a:pt x="355" y="103"/>
                  <a:pt x="355" y="102"/>
                </a:cubicBezTo>
                <a:cubicBezTo>
                  <a:pt x="361" y="97"/>
                  <a:pt x="367" y="91"/>
                  <a:pt x="373" y="85"/>
                </a:cubicBezTo>
                <a:cubicBezTo>
                  <a:pt x="384" y="74"/>
                  <a:pt x="392" y="60"/>
                  <a:pt x="396" y="44"/>
                </a:cubicBezTo>
                <a:cubicBezTo>
                  <a:pt x="397" y="35"/>
                  <a:pt x="397" y="27"/>
                  <a:pt x="396" y="18"/>
                </a:cubicBezTo>
                <a:close/>
                <a:moveTo>
                  <a:pt x="207" y="109"/>
                </a:moveTo>
                <a:cubicBezTo>
                  <a:pt x="200" y="143"/>
                  <a:pt x="194" y="178"/>
                  <a:pt x="185" y="213"/>
                </a:cubicBezTo>
                <a:cubicBezTo>
                  <a:pt x="189" y="209"/>
                  <a:pt x="200" y="185"/>
                  <a:pt x="203" y="173"/>
                </a:cubicBezTo>
                <a:cubicBezTo>
                  <a:pt x="209" y="152"/>
                  <a:pt x="210" y="131"/>
                  <a:pt x="207" y="109"/>
                </a:cubicBezTo>
                <a:close/>
                <a:moveTo>
                  <a:pt x="294" y="50"/>
                </a:moveTo>
                <a:cubicBezTo>
                  <a:pt x="291" y="83"/>
                  <a:pt x="285" y="116"/>
                  <a:pt x="270" y="145"/>
                </a:cubicBezTo>
                <a:cubicBezTo>
                  <a:pt x="273" y="141"/>
                  <a:pt x="277" y="137"/>
                  <a:pt x="280" y="133"/>
                </a:cubicBezTo>
                <a:cubicBezTo>
                  <a:pt x="285" y="124"/>
                  <a:pt x="291" y="115"/>
                  <a:pt x="294" y="104"/>
                </a:cubicBezTo>
                <a:cubicBezTo>
                  <a:pt x="297" y="90"/>
                  <a:pt x="297" y="76"/>
                  <a:pt x="296" y="62"/>
                </a:cubicBezTo>
                <a:cubicBezTo>
                  <a:pt x="296" y="58"/>
                  <a:pt x="296" y="54"/>
                  <a:pt x="294" y="50"/>
                </a:cubicBezTo>
                <a:close/>
                <a:moveTo>
                  <a:pt x="414" y="164"/>
                </a:moveTo>
                <a:cubicBezTo>
                  <a:pt x="390" y="146"/>
                  <a:pt x="352" y="135"/>
                  <a:pt x="328" y="141"/>
                </a:cubicBezTo>
                <a:cubicBezTo>
                  <a:pt x="357" y="144"/>
                  <a:pt x="385" y="156"/>
                  <a:pt x="414" y="164"/>
                </a:cubicBezTo>
                <a:close/>
              </a:path>
            </a:pathLst>
          </a:custGeom>
          <a:gradFill flip="none" rotWithShape="1">
            <a:gsLst>
              <a:gs pos="15000">
                <a:schemeClr val="accent1">
                  <a:lumMod val="40000"/>
                  <a:lumOff val="60000"/>
                  <a:alpha val="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EditPoints="1"/>
          </p:cNvSpPr>
          <p:nvPr/>
        </p:nvSpPr>
        <p:spPr bwMode="auto">
          <a:xfrm>
            <a:off x="6090120" y="5437723"/>
            <a:ext cx="724454" cy="1442169"/>
          </a:xfrm>
          <a:custGeom>
            <a:avLst/>
            <a:gdLst>
              <a:gd name="T0" fmla="*/ 307 w 451"/>
              <a:gd name="T1" fmla="*/ 657 h 900"/>
              <a:gd name="T2" fmla="*/ 27 w 451"/>
              <a:gd name="T3" fmla="*/ 588 h 900"/>
              <a:gd name="T4" fmla="*/ 98 w 451"/>
              <a:gd name="T5" fmla="*/ 608 h 900"/>
              <a:gd name="T6" fmla="*/ 266 w 451"/>
              <a:gd name="T7" fmla="*/ 608 h 900"/>
              <a:gd name="T8" fmla="*/ 252 w 451"/>
              <a:gd name="T9" fmla="*/ 611 h 900"/>
              <a:gd name="T10" fmla="*/ 59 w 451"/>
              <a:gd name="T11" fmla="*/ 506 h 900"/>
              <a:gd name="T12" fmla="*/ 326 w 451"/>
              <a:gd name="T13" fmla="*/ 486 h 900"/>
              <a:gd name="T14" fmla="*/ 326 w 451"/>
              <a:gd name="T15" fmla="*/ 486 h 900"/>
              <a:gd name="T16" fmla="*/ 183 w 451"/>
              <a:gd name="T17" fmla="*/ 476 h 900"/>
              <a:gd name="T18" fmla="*/ 165 w 451"/>
              <a:gd name="T19" fmla="*/ 481 h 900"/>
              <a:gd name="T20" fmla="*/ 296 w 451"/>
              <a:gd name="T21" fmla="*/ 451 h 900"/>
              <a:gd name="T22" fmla="*/ 382 w 451"/>
              <a:gd name="T23" fmla="*/ 421 h 900"/>
              <a:gd name="T24" fmla="*/ 309 w 451"/>
              <a:gd name="T25" fmla="*/ 428 h 900"/>
              <a:gd name="T26" fmla="*/ 287 w 451"/>
              <a:gd name="T27" fmla="*/ 446 h 900"/>
              <a:gd name="T28" fmla="*/ 185 w 451"/>
              <a:gd name="T29" fmla="*/ 418 h 900"/>
              <a:gd name="T30" fmla="*/ 301 w 451"/>
              <a:gd name="T31" fmla="*/ 369 h 900"/>
              <a:gd name="T32" fmla="*/ 310 w 451"/>
              <a:gd name="T33" fmla="*/ 333 h 900"/>
              <a:gd name="T34" fmla="*/ 313 w 451"/>
              <a:gd name="T35" fmla="*/ 225 h 900"/>
              <a:gd name="T36" fmla="*/ 256 w 451"/>
              <a:gd name="T37" fmla="*/ 270 h 900"/>
              <a:gd name="T38" fmla="*/ 227 w 451"/>
              <a:gd name="T39" fmla="*/ 261 h 900"/>
              <a:gd name="T40" fmla="*/ 146 w 451"/>
              <a:gd name="T41" fmla="*/ 199 h 900"/>
              <a:gd name="T42" fmla="*/ 254 w 451"/>
              <a:gd name="T43" fmla="*/ 165 h 900"/>
              <a:gd name="T44" fmla="*/ 301 w 451"/>
              <a:gd name="T45" fmla="*/ 75 h 900"/>
              <a:gd name="T46" fmla="*/ 165 w 451"/>
              <a:gd name="T47" fmla="*/ 28 h 900"/>
              <a:gd name="T48" fmla="*/ 149 w 451"/>
              <a:gd name="T49" fmla="*/ 5 h 900"/>
              <a:gd name="T50" fmla="*/ 154 w 451"/>
              <a:gd name="T51" fmla="*/ 104 h 900"/>
              <a:gd name="T52" fmla="*/ 256 w 451"/>
              <a:gd name="T53" fmla="*/ 261 h 900"/>
              <a:gd name="T54" fmla="*/ 243 w 451"/>
              <a:gd name="T55" fmla="*/ 260 h 900"/>
              <a:gd name="T56" fmla="*/ 173 w 451"/>
              <a:gd name="T57" fmla="*/ 251 h 900"/>
              <a:gd name="T58" fmla="*/ 213 w 451"/>
              <a:gd name="T59" fmla="*/ 527 h 900"/>
              <a:gd name="T60" fmla="*/ 223 w 451"/>
              <a:gd name="T61" fmla="*/ 350 h 900"/>
              <a:gd name="T62" fmla="*/ 197 w 451"/>
              <a:gd name="T63" fmla="*/ 441 h 900"/>
              <a:gd name="T64" fmla="*/ 181 w 451"/>
              <a:gd name="T65" fmla="*/ 441 h 900"/>
              <a:gd name="T66" fmla="*/ 81 w 451"/>
              <a:gd name="T67" fmla="*/ 412 h 900"/>
              <a:gd name="T68" fmla="*/ 187 w 451"/>
              <a:gd name="T69" fmla="*/ 486 h 900"/>
              <a:gd name="T70" fmla="*/ 133 w 451"/>
              <a:gd name="T71" fmla="*/ 582 h 900"/>
              <a:gd name="T72" fmla="*/ 118 w 451"/>
              <a:gd name="T73" fmla="*/ 592 h 900"/>
              <a:gd name="T74" fmla="*/ 4 w 451"/>
              <a:gd name="T75" fmla="*/ 565 h 900"/>
              <a:gd name="T76" fmla="*/ 149 w 451"/>
              <a:gd name="T77" fmla="*/ 627 h 900"/>
              <a:gd name="T78" fmla="*/ 190 w 451"/>
              <a:gd name="T79" fmla="*/ 900 h 900"/>
              <a:gd name="T80" fmla="*/ 221 w 451"/>
              <a:gd name="T81" fmla="*/ 641 h 900"/>
              <a:gd name="T82" fmla="*/ 330 w 451"/>
              <a:gd name="T83" fmla="*/ 633 h 900"/>
              <a:gd name="T84" fmla="*/ 366 w 451"/>
              <a:gd name="T85" fmla="*/ 543 h 900"/>
              <a:gd name="T86" fmla="*/ 220 w 451"/>
              <a:gd name="T87" fmla="*/ 629 h 900"/>
              <a:gd name="T88" fmla="*/ 270 w 451"/>
              <a:gd name="T89" fmla="*/ 517 h 900"/>
              <a:gd name="T90" fmla="*/ 183 w 451"/>
              <a:gd name="T91" fmla="*/ 595 h 900"/>
              <a:gd name="T92" fmla="*/ 319 w 451"/>
              <a:gd name="T93" fmla="*/ 490 h 900"/>
              <a:gd name="T94" fmla="*/ 267 w 451"/>
              <a:gd name="T95" fmla="*/ 470 h 900"/>
              <a:gd name="T96" fmla="*/ 449 w 451"/>
              <a:gd name="T97" fmla="*/ 389 h 900"/>
              <a:gd name="T98" fmla="*/ 383 w 451"/>
              <a:gd name="T99" fmla="*/ 342 h 900"/>
              <a:gd name="T100" fmla="*/ 272 w 451"/>
              <a:gd name="T101" fmla="*/ 412 h 900"/>
              <a:gd name="T102" fmla="*/ 397 w 451"/>
              <a:gd name="T103" fmla="*/ 190 h 900"/>
              <a:gd name="T104" fmla="*/ 295 w 451"/>
              <a:gd name="T105" fmla="*/ 240 h 900"/>
              <a:gd name="T106" fmla="*/ 321 w 451"/>
              <a:gd name="T107" fmla="*/ 211 h 900"/>
              <a:gd name="T108" fmla="*/ 380 w 451"/>
              <a:gd name="T109" fmla="*/ 64 h 900"/>
              <a:gd name="T110" fmla="*/ 284 w 451"/>
              <a:gd name="T111" fmla="*/ 205 h 900"/>
              <a:gd name="T112" fmla="*/ 297 w 451"/>
              <a:gd name="T113" fmla="*/ 68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51" h="900">
                <a:moveTo>
                  <a:pt x="373" y="638"/>
                </a:moveTo>
                <a:cubicBezTo>
                  <a:pt x="373" y="638"/>
                  <a:pt x="373" y="638"/>
                  <a:pt x="373" y="638"/>
                </a:cubicBezTo>
                <a:cubicBezTo>
                  <a:pt x="373" y="638"/>
                  <a:pt x="373" y="638"/>
                  <a:pt x="373" y="638"/>
                </a:cubicBezTo>
                <a:moveTo>
                  <a:pt x="307" y="657"/>
                </a:moveTo>
                <a:cubicBezTo>
                  <a:pt x="290" y="657"/>
                  <a:pt x="274" y="653"/>
                  <a:pt x="257" y="648"/>
                </a:cubicBezTo>
                <a:cubicBezTo>
                  <a:pt x="270" y="649"/>
                  <a:pt x="284" y="650"/>
                  <a:pt x="298" y="650"/>
                </a:cubicBezTo>
                <a:cubicBezTo>
                  <a:pt x="315" y="650"/>
                  <a:pt x="333" y="649"/>
                  <a:pt x="350" y="648"/>
                </a:cubicBezTo>
                <a:cubicBezTo>
                  <a:pt x="336" y="654"/>
                  <a:pt x="322" y="657"/>
                  <a:pt x="307" y="657"/>
                </a:cubicBezTo>
                <a:moveTo>
                  <a:pt x="304" y="647"/>
                </a:moveTo>
                <a:cubicBezTo>
                  <a:pt x="284" y="647"/>
                  <a:pt x="265" y="645"/>
                  <a:pt x="246" y="642"/>
                </a:cubicBezTo>
                <a:cubicBezTo>
                  <a:pt x="253" y="638"/>
                  <a:pt x="275" y="635"/>
                  <a:pt x="299" y="635"/>
                </a:cubicBezTo>
                <a:cubicBezTo>
                  <a:pt x="322" y="635"/>
                  <a:pt x="347" y="637"/>
                  <a:pt x="360" y="642"/>
                </a:cubicBezTo>
                <a:cubicBezTo>
                  <a:pt x="341" y="646"/>
                  <a:pt x="323" y="647"/>
                  <a:pt x="304" y="647"/>
                </a:cubicBezTo>
                <a:moveTo>
                  <a:pt x="117" y="621"/>
                </a:moveTo>
                <a:cubicBezTo>
                  <a:pt x="83" y="621"/>
                  <a:pt x="52" y="614"/>
                  <a:pt x="26" y="588"/>
                </a:cubicBezTo>
                <a:cubicBezTo>
                  <a:pt x="27" y="588"/>
                  <a:pt x="27" y="588"/>
                  <a:pt x="27" y="588"/>
                </a:cubicBezTo>
                <a:cubicBezTo>
                  <a:pt x="31" y="588"/>
                  <a:pt x="34" y="591"/>
                  <a:pt x="37" y="593"/>
                </a:cubicBezTo>
                <a:cubicBezTo>
                  <a:pt x="53" y="601"/>
                  <a:pt x="70" y="605"/>
                  <a:pt x="88" y="609"/>
                </a:cubicBezTo>
                <a:cubicBezTo>
                  <a:pt x="102" y="612"/>
                  <a:pt x="116" y="616"/>
                  <a:pt x="130" y="620"/>
                </a:cubicBezTo>
                <a:cubicBezTo>
                  <a:pt x="126" y="621"/>
                  <a:pt x="121" y="621"/>
                  <a:pt x="117" y="621"/>
                </a:cubicBezTo>
                <a:moveTo>
                  <a:pt x="133" y="618"/>
                </a:moveTo>
                <a:cubicBezTo>
                  <a:pt x="133" y="618"/>
                  <a:pt x="132" y="618"/>
                  <a:pt x="131" y="618"/>
                </a:cubicBezTo>
                <a:cubicBezTo>
                  <a:pt x="131" y="618"/>
                  <a:pt x="130" y="617"/>
                  <a:pt x="129" y="617"/>
                </a:cubicBezTo>
                <a:cubicBezTo>
                  <a:pt x="119" y="614"/>
                  <a:pt x="108" y="611"/>
                  <a:pt x="98" y="608"/>
                </a:cubicBezTo>
                <a:cubicBezTo>
                  <a:pt x="84" y="604"/>
                  <a:pt x="69" y="602"/>
                  <a:pt x="55" y="597"/>
                </a:cubicBezTo>
                <a:cubicBezTo>
                  <a:pt x="38" y="591"/>
                  <a:pt x="22" y="583"/>
                  <a:pt x="8" y="571"/>
                </a:cubicBezTo>
                <a:cubicBezTo>
                  <a:pt x="8" y="570"/>
                  <a:pt x="7" y="569"/>
                  <a:pt x="6" y="568"/>
                </a:cubicBezTo>
                <a:cubicBezTo>
                  <a:pt x="54" y="572"/>
                  <a:pt x="94" y="594"/>
                  <a:pt x="133" y="618"/>
                </a:cubicBezTo>
                <a:cubicBezTo>
                  <a:pt x="133" y="618"/>
                  <a:pt x="133" y="618"/>
                  <a:pt x="133" y="618"/>
                </a:cubicBezTo>
                <a:moveTo>
                  <a:pt x="266" y="608"/>
                </a:moveTo>
                <a:cubicBezTo>
                  <a:pt x="292" y="593"/>
                  <a:pt x="320" y="582"/>
                  <a:pt x="344" y="563"/>
                </a:cubicBezTo>
                <a:cubicBezTo>
                  <a:pt x="324" y="589"/>
                  <a:pt x="298" y="603"/>
                  <a:pt x="266" y="608"/>
                </a:cubicBezTo>
                <a:moveTo>
                  <a:pt x="252" y="611"/>
                </a:moveTo>
                <a:cubicBezTo>
                  <a:pt x="256" y="604"/>
                  <a:pt x="262" y="600"/>
                  <a:pt x="267" y="595"/>
                </a:cubicBezTo>
                <a:cubicBezTo>
                  <a:pt x="280" y="585"/>
                  <a:pt x="294" y="576"/>
                  <a:pt x="309" y="569"/>
                </a:cubicBezTo>
                <a:cubicBezTo>
                  <a:pt x="325" y="561"/>
                  <a:pt x="341" y="552"/>
                  <a:pt x="356" y="543"/>
                </a:cubicBezTo>
                <a:cubicBezTo>
                  <a:pt x="358" y="542"/>
                  <a:pt x="359" y="541"/>
                  <a:pt x="361" y="540"/>
                </a:cubicBezTo>
                <a:cubicBezTo>
                  <a:pt x="354" y="550"/>
                  <a:pt x="346" y="558"/>
                  <a:pt x="336" y="564"/>
                </a:cubicBezTo>
                <a:cubicBezTo>
                  <a:pt x="319" y="577"/>
                  <a:pt x="300" y="587"/>
                  <a:pt x="281" y="596"/>
                </a:cubicBezTo>
                <a:cubicBezTo>
                  <a:pt x="271" y="601"/>
                  <a:pt x="262" y="606"/>
                  <a:pt x="252" y="611"/>
                </a:cubicBezTo>
                <a:moveTo>
                  <a:pt x="224" y="603"/>
                </a:moveTo>
                <a:cubicBezTo>
                  <a:pt x="235" y="576"/>
                  <a:pt x="247" y="551"/>
                  <a:pt x="267" y="528"/>
                </a:cubicBezTo>
                <a:cubicBezTo>
                  <a:pt x="259" y="558"/>
                  <a:pt x="246" y="583"/>
                  <a:pt x="224" y="603"/>
                </a:cubicBezTo>
                <a:moveTo>
                  <a:pt x="220" y="603"/>
                </a:moveTo>
                <a:cubicBezTo>
                  <a:pt x="220" y="575"/>
                  <a:pt x="245" y="531"/>
                  <a:pt x="265" y="524"/>
                </a:cubicBezTo>
                <a:cubicBezTo>
                  <a:pt x="246" y="548"/>
                  <a:pt x="231" y="574"/>
                  <a:pt x="220" y="603"/>
                </a:cubicBezTo>
                <a:moveTo>
                  <a:pt x="131" y="596"/>
                </a:moveTo>
                <a:cubicBezTo>
                  <a:pt x="97" y="574"/>
                  <a:pt x="73" y="544"/>
                  <a:pt x="59" y="506"/>
                </a:cubicBezTo>
                <a:cubicBezTo>
                  <a:pt x="80" y="539"/>
                  <a:pt x="106" y="567"/>
                  <a:pt x="131" y="596"/>
                </a:cubicBezTo>
                <a:moveTo>
                  <a:pt x="135" y="595"/>
                </a:moveTo>
                <a:cubicBezTo>
                  <a:pt x="107" y="561"/>
                  <a:pt x="75" y="531"/>
                  <a:pt x="54" y="491"/>
                </a:cubicBezTo>
                <a:cubicBezTo>
                  <a:pt x="55" y="491"/>
                  <a:pt x="55" y="490"/>
                  <a:pt x="56" y="490"/>
                </a:cubicBezTo>
                <a:cubicBezTo>
                  <a:pt x="57" y="490"/>
                  <a:pt x="57" y="491"/>
                  <a:pt x="57" y="491"/>
                </a:cubicBezTo>
                <a:cubicBezTo>
                  <a:pt x="69" y="505"/>
                  <a:pt x="82" y="518"/>
                  <a:pt x="95" y="531"/>
                </a:cubicBezTo>
                <a:cubicBezTo>
                  <a:pt x="113" y="549"/>
                  <a:pt x="125" y="572"/>
                  <a:pt x="135" y="595"/>
                </a:cubicBezTo>
                <a:moveTo>
                  <a:pt x="326" y="486"/>
                </a:moveTo>
                <a:cubicBezTo>
                  <a:pt x="307" y="486"/>
                  <a:pt x="289" y="482"/>
                  <a:pt x="271" y="477"/>
                </a:cubicBezTo>
                <a:cubicBezTo>
                  <a:pt x="272" y="476"/>
                  <a:pt x="273" y="476"/>
                  <a:pt x="275" y="476"/>
                </a:cubicBezTo>
                <a:cubicBezTo>
                  <a:pt x="276" y="476"/>
                  <a:pt x="278" y="476"/>
                  <a:pt x="279" y="476"/>
                </a:cubicBezTo>
                <a:cubicBezTo>
                  <a:pt x="283" y="477"/>
                  <a:pt x="286" y="477"/>
                  <a:pt x="289" y="477"/>
                </a:cubicBezTo>
                <a:cubicBezTo>
                  <a:pt x="309" y="477"/>
                  <a:pt x="328" y="482"/>
                  <a:pt x="348" y="482"/>
                </a:cubicBezTo>
                <a:cubicBezTo>
                  <a:pt x="349" y="482"/>
                  <a:pt x="351" y="482"/>
                  <a:pt x="352" y="482"/>
                </a:cubicBezTo>
                <a:cubicBezTo>
                  <a:pt x="352" y="483"/>
                  <a:pt x="352" y="483"/>
                  <a:pt x="352" y="483"/>
                </a:cubicBezTo>
                <a:cubicBezTo>
                  <a:pt x="343" y="485"/>
                  <a:pt x="334" y="486"/>
                  <a:pt x="326" y="486"/>
                </a:cubicBezTo>
                <a:moveTo>
                  <a:pt x="271" y="474"/>
                </a:moveTo>
                <a:cubicBezTo>
                  <a:pt x="281" y="472"/>
                  <a:pt x="291" y="471"/>
                  <a:pt x="301" y="471"/>
                </a:cubicBezTo>
                <a:cubicBezTo>
                  <a:pt x="320" y="471"/>
                  <a:pt x="338" y="475"/>
                  <a:pt x="357" y="479"/>
                </a:cubicBezTo>
                <a:cubicBezTo>
                  <a:pt x="353" y="479"/>
                  <a:pt x="350" y="480"/>
                  <a:pt x="346" y="480"/>
                </a:cubicBezTo>
                <a:cubicBezTo>
                  <a:pt x="335" y="480"/>
                  <a:pt x="324" y="478"/>
                  <a:pt x="312" y="477"/>
                </a:cubicBezTo>
                <a:cubicBezTo>
                  <a:pt x="301" y="475"/>
                  <a:pt x="290" y="474"/>
                  <a:pt x="278" y="474"/>
                </a:cubicBezTo>
                <a:cubicBezTo>
                  <a:pt x="276" y="474"/>
                  <a:pt x="274" y="474"/>
                  <a:pt x="271" y="474"/>
                </a:cubicBezTo>
                <a:moveTo>
                  <a:pt x="183" y="476"/>
                </a:moveTo>
                <a:cubicBezTo>
                  <a:pt x="153" y="464"/>
                  <a:pt x="123" y="451"/>
                  <a:pt x="99" y="428"/>
                </a:cubicBezTo>
                <a:cubicBezTo>
                  <a:pt x="128" y="442"/>
                  <a:pt x="160" y="452"/>
                  <a:pt x="183" y="476"/>
                </a:cubicBezTo>
                <a:moveTo>
                  <a:pt x="165" y="481"/>
                </a:moveTo>
                <a:cubicBezTo>
                  <a:pt x="162" y="481"/>
                  <a:pt x="159" y="481"/>
                  <a:pt x="156" y="480"/>
                </a:cubicBezTo>
                <a:cubicBezTo>
                  <a:pt x="132" y="476"/>
                  <a:pt x="115" y="462"/>
                  <a:pt x="100" y="443"/>
                </a:cubicBezTo>
                <a:cubicBezTo>
                  <a:pt x="96" y="438"/>
                  <a:pt x="92" y="432"/>
                  <a:pt x="89" y="425"/>
                </a:cubicBezTo>
                <a:cubicBezTo>
                  <a:pt x="119" y="452"/>
                  <a:pt x="126" y="458"/>
                  <a:pt x="178" y="480"/>
                </a:cubicBezTo>
                <a:cubicBezTo>
                  <a:pt x="173" y="480"/>
                  <a:pt x="169" y="481"/>
                  <a:pt x="165" y="481"/>
                </a:cubicBezTo>
                <a:moveTo>
                  <a:pt x="293" y="451"/>
                </a:moveTo>
                <a:cubicBezTo>
                  <a:pt x="303" y="444"/>
                  <a:pt x="315" y="440"/>
                  <a:pt x="328" y="436"/>
                </a:cubicBezTo>
                <a:cubicBezTo>
                  <a:pt x="345" y="431"/>
                  <a:pt x="362" y="428"/>
                  <a:pt x="379" y="425"/>
                </a:cubicBezTo>
                <a:cubicBezTo>
                  <a:pt x="400" y="422"/>
                  <a:pt x="419" y="414"/>
                  <a:pt x="436" y="401"/>
                </a:cubicBezTo>
                <a:cubicBezTo>
                  <a:pt x="437" y="400"/>
                  <a:pt x="439" y="400"/>
                  <a:pt x="440" y="399"/>
                </a:cubicBezTo>
                <a:cubicBezTo>
                  <a:pt x="435" y="406"/>
                  <a:pt x="429" y="412"/>
                  <a:pt x="421" y="418"/>
                </a:cubicBezTo>
                <a:cubicBezTo>
                  <a:pt x="399" y="434"/>
                  <a:pt x="373" y="440"/>
                  <a:pt x="346" y="443"/>
                </a:cubicBezTo>
                <a:cubicBezTo>
                  <a:pt x="329" y="444"/>
                  <a:pt x="312" y="447"/>
                  <a:pt x="296" y="451"/>
                </a:cubicBezTo>
                <a:cubicBezTo>
                  <a:pt x="295" y="451"/>
                  <a:pt x="294" y="451"/>
                  <a:pt x="293" y="451"/>
                </a:cubicBezTo>
                <a:moveTo>
                  <a:pt x="303" y="441"/>
                </a:moveTo>
                <a:cubicBezTo>
                  <a:pt x="302" y="440"/>
                  <a:pt x="302" y="440"/>
                  <a:pt x="302" y="440"/>
                </a:cubicBezTo>
                <a:cubicBezTo>
                  <a:pt x="304" y="439"/>
                  <a:pt x="307" y="437"/>
                  <a:pt x="309" y="436"/>
                </a:cubicBezTo>
                <a:cubicBezTo>
                  <a:pt x="339" y="418"/>
                  <a:pt x="372" y="407"/>
                  <a:pt x="407" y="402"/>
                </a:cubicBezTo>
                <a:cubicBezTo>
                  <a:pt x="416" y="400"/>
                  <a:pt x="425" y="398"/>
                  <a:pt x="435" y="396"/>
                </a:cubicBezTo>
                <a:cubicBezTo>
                  <a:pt x="436" y="396"/>
                  <a:pt x="438" y="396"/>
                  <a:pt x="440" y="395"/>
                </a:cubicBezTo>
                <a:cubicBezTo>
                  <a:pt x="422" y="410"/>
                  <a:pt x="403" y="417"/>
                  <a:pt x="382" y="421"/>
                </a:cubicBezTo>
                <a:cubicBezTo>
                  <a:pt x="363" y="425"/>
                  <a:pt x="344" y="427"/>
                  <a:pt x="325" y="433"/>
                </a:cubicBezTo>
                <a:cubicBezTo>
                  <a:pt x="318" y="436"/>
                  <a:pt x="310" y="439"/>
                  <a:pt x="303" y="441"/>
                </a:cubicBezTo>
                <a:moveTo>
                  <a:pt x="207" y="489"/>
                </a:moveTo>
                <a:cubicBezTo>
                  <a:pt x="208" y="474"/>
                  <a:pt x="209" y="460"/>
                  <a:pt x="212" y="446"/>
                </a:cubicBezTo>
                <a:cubicBezTo>
                  <a:pt x="216" y="429"/>
                  <a:pt x="220" y="412"/>
                  <a:pt x="225" y="395"/>
                </a:cubicBezTo>
                <a:cubicBezTo>
                  <a:pt x="226" y="392"/>
                  <a:pt x="226" y="388"/>
                  <a:pt x="226" y="384"/>
                </a:cubicBezTo>
                <a:cubicBezTo>
                  <a:pt x="232" y="421"/>
                  <a:pt x="226" y="455"/>
                  <a:pt x="207" y="489"/>
                </a:cubicBezTo>
                <a:moveTo>
                  <a:pt x="309" y="428"/>
                </a:moveTo>
                <a:cubicBezTo>
                  <a:pt x="311" y="417"/>
                  <a:pt x="350" y="372"/>
                  <a:pt x="367" y="360"/>
                </a:cubicBezTo>
                <a:cubicBezTo>
                  <a:pt x="346" y="381"/>
                  <a:pt x="331" y="407"/>
                  <a:pt x="309" y="428"/>
                </a:cubicBezTo>
                <a:moveTo>
                  <a:pt x="287" y="446"/>
                </a:moveTo>
                <a:cubicBezTo>
                  <a:pt x="300" y="403"/>
                  <a:pt x="331" y="374"/>
                  <a:pt x="369" y="351"/>
                </a:cubicBezTo>
                <a:cubicBezTo>
                  <a:pt x="369" y="354"/>
                  <a:pt x="368" y="354"/>
                  <a:pt x="367" y="355"/>
                </a:cubicBezTo>
                <a:cubicBezTo>
                  <a:pt x="352" y="370"/>
                  <a:pt x="337" y="383"/>
                  <a:pt x="324" y="398"/>
                </a:cubicBezTo>
                <a:cubicBezTo>
                  <a:pt x="315" y="409"/>
                  <a:pt x="308" y="421"/>
                  <a:pt x="300" y="432"/>
                </a:cubicBezTo>
                <a:cubicBezTo>
                  <a:pt x="296" y="437"/>
                  <a:pt x="292" y="443"/>
                  <a:pt x="287" y="446"/>
                </a:cubicBezTo>
                <a:moveTo>
                  <a:pt x="188" y="444"/>
                </a:moveTo>
                <a:cubicBezTo>
                  <a:pt x="157" y="401"/>
                  <a:pt x="143" y="353"/>
                  <a:pt x="137" y="303"/>
                </a:cubicBezTo>
                <a:cubicBezTo>
                  <a:pt x="141" y="315"/>
                  <a:pt x="145" y="327"/>
                  <a:pt x="150" y="339"/>
                </a:cubicBezTo>
                <a:cubicBezTo>
                  <a:pt x="157" y="360"/>
                  <a:pt x="165" y="381"/>
                  <a:pt x="175" y="402"/>
                </a:cubicBezTo>
                <a:cubicBezTo>
                  <a:pt x="180" y="414"/>
                  <a:pt x="184" y="426"/>
                  <a:pt x="187" y="439"/>
                </a:cubicBezTo>
                <a:cubicBezTo>
                  <a:pt x="187" y="440"/>
                  <a:pt x="187" y="442"/>
                  <a:pt x="188" y="444"/>
                </a:cubicBezTo>
                <a:moveTo>
                  <a:pt x="193" y="440"/>
                </a:moveTo>
                <a:cubicBezTo>
                  <a:pt x="190" y="433"/>
                  <a:pt x="188" y="425"/>
                  <a:pt x="185" y="418"/>
                </a:cubicBezTo>
                <a:cubicBezTo>
                  <a:pt x="179" y="403"/>
                  <a:pt x="171" y="390"/>
                  <a:pt x="166" y="375"/>
                </a:cubicBezTo>
                <a:cubicBezTo>
                  <a:pt x="158" y="350"/>
                  <a:pt x="148" y="326"/>
                  <a:pt x="141" y="301"/>
                </a:cubicBezTo>
                <a:cubicBezTo>
                  <a:pt x="140" y="300"/>
                  <a:pt x="139" y="298"/>
                  <a:pt x="140" y="296"/>
                </a:cubicBezTo>
                <a:cubicBezTo>
                  <a:pt x="142" y="299"/>
                  <a:pt x="143" y="301"/>
                  <a:pt x="145" y="304"/>
                </a:cubicBezTo>
                <a:cubicBezTo>
                  <a:pt x="155" y="322"/>
                  <a:pt x="166" y="340"/>
                  <a:pt x="175" y="359"/>
                </a:cubicBezTo>
                <a:cubicBezTo>
                  <a:pt x="185" y="379"/>
                  <a:pt x="194" y="400"/>
                  <a:pt x="194" y="424"/>
                </a:cubicBezTo>
                <a:cubicBezTo>
                  <a:pt x="195" y="429"/>
                  <a:pt x="194" y="435"/>
                  <a:pt x="193" y="440"/>
                </a:cubicBezTo>
                <a:moveTo>
                  <a:pt x="301" y="369"/>
                </a:moveTo>
                <a:cubicBezTo>
                  <a:pt x="301" y="369"/>
                  <a:pt x="301" y="368"/>
                  <a:pt x="301" y="368"/>
                </a:cubicBezTo>
                <a:cubicBezTo>
                  <a:pt x="312" y="353"/>
                  <a:pt x="321" y="337"/>
                  <a:pt x="331" y="322"/>
                </a:cubicBezTo>
                <a:cubicBezTo>
                  <a:pt x="342" y="305"/>
                  <a:pt x="354" y="288"/>
                  <a:pt x="365" y="272"/>
                </a:cubicBezTo>
                <a:cubicBezTo>
                  <a:pt x="375" y="259"/>
                  <a:pt x="381" y="244"/>
                  <a:pt x="387" y="229"/>
                </a:cubicBezTo>
                <a:cubicBezTo>
                  <a:pt x="388" y="227"/>
                  <a:pt x="388" y="226"/>
                  <a:pt x="390" y="224"/>
                </a:cubicBezTo>
                <a:cubicBezTo>
                  <a:pt x="379" y="284"/>
                  <a:pt x="346" y="330"/>
                  <a:pt x="301" y="369"/>
                </a:cubicBezTo>
                <a:moveTo>
                  <a:pt x="298" y="359"/>
                </a:moveTo>
                <a:cubicBezTo>
                  <a:pt x="302" y="350"/>
                  <a:pt x="306" y="341"/>
                  <a:pt x="310" y="333"/>
                </a:cubicBezTo>
                <a:cubicBezTo>
                  <a:pt x="324" y="301"/>
                  <a:pt x="346" y="274"/>
                  <a:pt x="367" y="246"/>
                </a:cubicBezTo>
                <a:cubicBezTo>
                  <a:pt x="374" y="237"/>
                  <a:pt x="381" y="227"/>
                  <a:pt x="388" y="217"/>
                </a:cubicBezTo>
                <a:cubicBezTo>
                  <a:pt x="385" y="224"/>
                  <a:pt x="383" y="230"/>
                  <a:pt x="380" y="237"/>
                </a:cubicBezTo>
                <a:cubicBezTo>
                  <a:pt x="360" y="281"/>
                  <a:pt x="329" y="318"/>
                  <a:pt x="301" y="358"/>
                </a:cubicBezTo>
                <a:cubicBezTo>
                  <a:pt x="300" y="358"/>
                  <a:pt x="300" y="359"/>
                  <a:pt x="298" y="359"/>
                </a:cubicBezTo>
                <a:moveTo>
                  <a:pt x="313" y="225"/>
                </a:moveTo>
                <a:cubicBezTo>
                  <a:pt x="331" y="216"/>
                  <a:pt x="349" y="206"/>
                  <a:pt x="366" y="194"/>
                </a:cubicBezTo>
                <a:cubicBezTo>
                  <a:pt x="353" y="211"/>
                  <a:pt x="334" y="220"/>
                  <a:pt x="313" y="225"/>
                </a:cubicBezTo>
                <a:moveTo>
                  <a:pt x="319" y="218"/>
                </a:moveTo>
                <a:cubicBezTo>
                  <a:pt x="336" y="204"/>
                  <a:pt x="357" y="195"/>
                  <a:pt x="375" y="182"/>
                </a:cubicBezTo>
                <a:cubicBezTo>
                  <a:pt x="359" y="199"/>
                  <a:pt x="339" y="208"/>
                  <a:pt x="319" y="218"/>
                </a:cubicBezTo>
                <a:moveTo>
                  <a:pt x="255" y="271"/>
                </a:moveTo>
                <a:cubicBezTo>
                  <a:pt x="234" y="240"/>
                  <a:pt x="218" y="205"/>
                  <a:pt x="192" y="178"/>
                </a:cubicBezTo>
                <a:cubicBezTo>
                  <a:pt x="202" y="182"/>
                  <a:pt x="212" y="188"/>
                  <a:pt x="219" y="197"/>
                </a:cubicBezTo>
                <a:cubicBezTo>
                  <a:pt x="233" y="212"/>
                  <a:pt x="241" y="231"/>
                  <a:pt x="249" y="250"/>
                </a:cubicBezTo>
                <a:cubicBezTo>
                  <a:pt x="251" y="257"/>
                  <a:pt x="254" y="264"/>
                  <a:pt x="256" y="270"/>
                </a:cubicBezTo>
                <a:cubicBezTo>
                  <a:pt x="256" y="271"/>
                  <a:pt x="256" y="271"/>
                  <a:pt x="255" y="271"/>
                </a:cubicBezTo>
                <a:moveTo>
                  <a:pt x="226" y="262"/>
                </a:moveTo>
                <a:cubicBezTo>
                  <a:pt x="172" y="253"/>
                  <a:pt x="129" y="230"/>
                  <a:pt x="106" y="177"/>
                </a:cubicBezTo>
                <a:cubicBezTo>
                  <a:pt x="106" y="177"/>
                  <a:pt x="106" y="177"/>
                  <a:pt x="106" y="177"/>
                </a:cubicBezTo>
                <a:cubicBezTo>
                  <a:pt x="108" y="177"/>
                  <a:pt x="109" y="179"/>
                  <a:pt x="110" y="180"/>
                </a:cubicBezTo>
                <a:cubicBezTo>
                  <a:pt x="126" y="198"/>
                  <a:pt x="143" y="216"/>
                  <a:pt x="165" y="230"/>
                </a:cubicBezTo>
                <a:cubicBezTo>
                  <a:pt x="178" y="238"/>
                  <a:pt x="193" y="245"/>
                  <a:pt x="208" y="252"/>
                </a:cubicBezTo>
                <a:cubicBezTo>
                  <a:pt x="214" y="255"/>
                  <a:pt x="220" y="258"/>
                  <a:pt x="227" y="261"/>
                </a:cubicBezTo>
                <a:cubicBezTo>
                  <a:pt x="226" y="262"/>
                  <a:pt x="226" y="262"/>
                  <a:pt x="226" y="262"/>
                </a:cubicBezTo>
                <a:moveTo>
                  <a:pt x="227" y="257"/>
                </a:moveTo>
                <a:cubicBezTo>
                  <a:pt x="221" y="254"/>
                  <a:pt x="216" y="252"/>
                  <a:pt x="211" y="249"/>
                </a:cubicBezTo>
                <a:cubicBezTo>
                  <a:pt x="194" y="241"/>
                  <a:pt x="177" y="234"/>
                  <a:pt x="162" y="223"/>
                </a:cubicBezTo>
                <a:cubicBezTo>
                  <a:pt x="143" y="211"/>
                  <a:pt x="127" y="195"/>
                  <a:pt x="113" y="178"/>
                </a:cubicBezTo>
                <a:cubicBezTo>
                  <a:pt x="112" y="178"/>
                  <a:pt x="112" y="178"/>
                  <a:pt x="111" y="177"/>
                </a:cubicBezTo>
                <a:cubicBezTo>
                  <a:pt x="112" y="177"/>
                  <a:pt x="112" y="177"/>
                  <a:pt x="112" y="176"/>
                </a:cubicBezTo>
                <a:cubicBezTo>
                  <a:pt x="124" y="184"/>
                  <a:pt x="135" y="192"/>
                  <a:pt x="146" y="199"/>
                </a:cubicBezTo>
                <a:cubicBezTo>
                  <a:pt x="161" y="209"/>
                  <a:pt x="178" y="219"/>
                  <a:pt x="193" y="229"/>
                </a:cubicBezTo>
                <a:cubicBezTo>
                  <a:pt x="206" y="237"/>
                  <a:pt x="216" y="246"/>
                  <a:pt x="227" y="257"/>
                </a:cubicBezTo>
                <a:moveTo>
                  <a:pt x="267" y="179"/>
                </a:moveTo>
                <a:cubicBezTo>
                  <a:pt x="254" y="178"/>
                  <a:pt x="192" y="135"/>
                  <a:pt x="179" y="118"/>
                </a:cubicBezTo>
                <a:cubicBezTo>
                  <a:pt x="209" y="137"/>
                  <a:pt x="238" y="157"/>
                  <a:pt x="267" y="179"/>
                </a:cubicBezTo>
                <a:moveTo>
                  <a:pt x="254" y="165"/>
                </a:moveTo>
                <a:cubicBezTo>
                  <a:pt x="229" y="148"/>
                  <a:pt x="206" y="131"/>
                  <a:pt x="181" y="116"/>
                </a:cubicBezTo>
                <a:cubicBezTo>
                  <a:pt x="208" y="127"/>
                  <a:pt x="233" y="143"/>
                  <a:pt x="254" y="165"/>
                </a:cubicBezTo>
                <a:moveTo>
                  <a:pt x="322" y="182"/>
                </a:moveTo>
                <a:cubicBezTo>
                  <a:pt x="333" y="150"/>
                  <a:pt x="351" y="122"/>
                  <a:pt x="369" y="95"/>
                </a:cubicBezTo>
                <a:cubicBezTo>
                  <a:pt x="358" y="126"/>
                  <a:pt x="341" y="154"/>
                  <a:pt x="322" y="182"/>
                </a:cubicBezTo>
                <a:moveTo>
                  <a:pt x="328" y="179"/>
                </a:moveTo>
                <a:cubicBezTo>
                  <a:pt x="347" y="153"/>
                  <a:pt x="361" y="125"/>
                  <a:pt x="373" y="94"/>
                </a:cubicBezTo>
                <a:cubicBezTo>
                  <a:pt x="367" y="128"/>
                  <a:pt x="350" y="155"/>
                  <a:pt x="328" y="179"/>
                </a:cubicBezTo>
                <a:moveTo>
                  <a:pt x="292" y="151"/>
                </a:moveTo>
                <a:cubicBezTo>
                  <a:pt x="296" y="126"/>
                  <a:pt x="298" y="100"/>
                  <a:pt x="301" y="75"/>
                </a:cubicBezTo>
                <a:cubicBezTo>
                  <a:pt x="306" y="101"/>
                  <a:pt x="301" y="126"/>
                  <a:pt x="292" y="151"/>
                </a:cubicBezTo>
                <a:moveTo>
                  <a:pt x="301" y="136"/>
                </a:moveTo>
                <a:cubicBezTo>
                  <a:pt x="307" y="113"/>
                  <a:pt x="307" y="90"/>
                  <a:pt x="305" y="66"/>
                </a:cubicBezTo>
                <a:cubicBezTo>
                  <a:pt x="314" y="76"/>
                  <a:pt x="316" y="107"/>
                  <a:pt x="301" y="136"/>
                </a:cubicBezTo>
                <a:moveTo>
                  <a:pt x="247" y="130"/>
                </a:moveTo>
                <a:cubicBezTo>
                  <a:pt x="239" y="123"/>
                  <a:pt x="231" y="116"/>
                  <a:pt x="223" y="109"/>
                </a:cubicBezTo>
                <a:cubicBezTo>
                  <a:pt x="209" y="95"/>
                  <a:pt x="194" y="80"/>
                  <a:pt x="182" y="63"/>
                </a:cubicBezTo>
                <a:cubicBezTo>
                  <a:pt x="175" y="52"/>
                  <a:pt x="170" y="40"/>
                  <a:pt x="165" y="28"/>
                </a:cubicBezTo>
                <a:cubicBezTo>
                  <a:pt x="164" y="24"/>
                  <a:pt x="162" y="22"/>
                  <a:pt x="161" y="17"/>
                </a:cubicBezTo>
                <a:cubicBezTo>
                  <a:pt x="197" y="50"/>
                  <a:pt x="221" y="91"/>
                  <a:pt x="247" y="130"/>
                </a:cubicBezTo>
                <a:moveTo>
                  <a:pt x="252" y="131"/>
                </a:moveTo>
                <a:cubicBezTo>
                  <a:pt x="225" y="90"/>
                  <a:pt x="199" y="48"/>
                  <a:pt x="163" y="13"/>
                </a:cubicBezTo>
                <a:cubicBezTo>
                  <a:pt x="207" y="42"/>
                  <a:pt x="237" y="81"/>
                  <a:pt x="252" y="131"/>
                </a:cubicBezTo>
                <a:moveTo>
                  <a:pt x="149" y="0"/>
                </a:moveTo>
                <a:cubicBezTo>
                  <a:pt x="149" y="0"/>
                  <a:pt x="148" y="1"/>
                  <a:pt x="148" y="1"/>
                </a:cubicBezTo>
                <a:cubicBezTo>
                  <a:pt x="147" y="2"/>
                  <a:pt x="148" y="4"/>
                  <a:pt x="149" y="5"/>
                </a:cubicBezTo>
                <a:cubicBezTo>
                  <a:pt x="155" y="11"/>
                  <a:pt x="158" y="19"/>
                  <a:pt x="161" y="27"/>
                </a:cubicBezTo>
                <a:cubicBezTo>
                  <a:pt x="166" y="41"/>
                  <a:pt x="172" y="54"/>
                  <a:pt x="180" y="66"/>
                </a:cubicBezTo>
                <a:cubicBezTo>
                  <a:pt x="194" y="85"/>
                  <a:pt x="210" y="101"/>
                  <a:pt x="227" y="117"/>
                </a:cubicBezTo>
                <a:cubicBezTo>
                  <a:pt x="236" y="124"/>
                  <a:pt x="244" y="132"/>
                  <a:pt x="251" y="141"/>
                </a:cubicBezTo>
                <a:cubicBezTo>
                  <a:pt x="254" y="145"/>
                  <a:pt x="261" y="161"/>
                  <a:pt x="262" y="164"/>
                </a:cubicBezTo>
                <a:cubicBezTo>
                  <a:pt x="247" y="149"/>
                  <a:pt x="230" y="136"/>
                  <a:pt x="211" y="126"/>
                </a:cubicBezTo>
                <a:cubicBezTo>
                  <a:pt x="193" y="115"/>
                  <a:pt x="173" y="109"/>
                  <a:pt x="153" y="101"/>
                </a:cubicBezTo>
                <a:cubicBezTo>
                  <a:pt x="153" y="103"/>
                  <a:pt x="153" y="103"/>
                  <a:pt x="154" y="104"/>
                </a:cubicBezTo>
                <a:cubicBezTo>
                  <a:pt x="160" y="108"/>
                  <a:pt x="166" y="113"/>
                  <a:pt x="171" y="117"/>
                </a:cubicBezTo>
                <a:cubicBezTo>
                  <a:pt x="180" y="127"/>
                  <a:pt x="190" y="135"/>
                  <a:pt x="200" y="144"/>
                </a:cubicBezTo>
                <a:cubicBezTo>
                  <a:pt x="220" y="161"/>
                  <a:pt x="243" y="175"/>
                  <a:pt x="267" y="185"/>
                </a:cubicBezTo>
                <a:cubicBezTo>
                  <a:pt x="271" y="187"/>
                  <a:pt x="273" y="189"/>
                  <a:pt x="274" y="192"/>
                </a:cubicBezTo>
                <a:cubicBezTo>
                  <a:pt x="286" y="226"/>
                  <a:pt x="288" y="261"/>
                  <a:pt x="288" y="296"/>
                </a:cubicBezTo>
                <a:cubicBezTo>
                  <a:pt x="288" y="298"/>
                  <a:pt x="288" y="299"/>
                  <a:pt x="286" y="301"/>
                </a:cubicBezTo>
                <a:cubicBezTo>
                  <a:pt x="282" y="296"/>
                  <a:pt x="278" y="291"/>
                  <a:pt x="273" y="287"/>
                </a:cubicBezTo>
                <a:cubicBezTo>
                  <a:pt x="264" y="280"/>
                  <a:pt x="260" y="271"/>
                  <a:pt x="256" y="261"/>
                </a:cubicBezTo>
                <a:cubicBezTo>
                  <a:pt x="250" y="243"/>
                  <a:pt x="243" y="225"/>
                  <a:pt x="233" y="209"/>
                </a:cubicBezTo>
                <a:cubicBezTo>
                  <a:pt x="225" y="197"/>
                  <a:pt x="215" y="186"/>
                  <a:pt x="202" y="179"/>
                </a:cubicBezTo>
                <a:cubicBezTo>
                  <a:pt x="196" y="176"/>
                  <a:pt x="190" y="172"/>
                  <a:pt x="184" y="169"/>
                </a:cubicBezTo>
                <a:cubicBezTo>
                  <a:pt x="183" y="168"/>
                  <a:pt x="182" y="167"/>
                  <a:pt x="181" y="167"/>
                </a:cubicBezTo>
                <a:cubicBezTo>
                  <a:pt x="180" y="167"/>
                  <a:pt x="180" y="167"/>
                  <a:pt x="179" y="168"/>
                </a:cubicBezTo>
                <a:cubicBezTo>
                  <a:pt x="178" y="170"/>
                  <a:pt x="180" y="171"/>
                  <a:pt x="181" y="172"/>
                </a:cubicBezTo>
                <a:cubicBezTo>
                  <a:pt x="193" y="184"/>
                  <a:pt x="204" y="198"/>
                  <a:pt x="213" y="212"/>
                </a:cubicBezTo>
                <a:cubicBezTo>
                  <a:pt x="224" y="228"/>
                  <a:pt x="232" y="245"/>
                  <a:pt x="243" y="260"/>
                </a:cubicBezTo>
                <a:cubicBezTo>
                  <a:pt x="245" y="262"/>
                  <a:pt x="247" y="265"/>
                  <a:pt x="249" y="268"/>
                </a:cubicBezTo>
                <a:cubicBezTo>
                  <a:pt x="244" y="266"/>
                  <a:pt x="241" y="264"/>
                  <a:pt x="238" y="262"/>
                </a:cubicBezTo>
                <a:cubicBezTo>
                  <a:pt x="222" y="247"/>
                  <a:pt x="206" y="232"/>
                  <a:pt x="187" y="222"/>
                </a:cubicBezTo>
                <a:cubicBezTo>
                  <a:pt x="160" y="206"/>
                  <a:pt x="133" y="187"/>
                  <a:pt x="106" y="170"/>
                </a:cubicBezTo>
                <a:cubicBezTo>
                  <a:pt x="105" y="169"/>
                  <a:pt x="103" y="167"/>
                  <a:pt x="101" y="167"/>
                </a:cubicBezTo>
                <a:cubicBezTo>
                  <a:pt x="101" y="167"/>
                  <a:pt x="100" y="167"/>
                  <a:pt x="99" y="168"/>
                </a:cubicBezTo>
                <a:cubicBezTo>
                  <a:pt x="97" y="170"/>
                  <a:pt x="99" y="173"/>
                  <a:pt x="101" y="175"/>
                </a:cubicBezTo>
                <a:cubicBezTo>
                  <a:pt x="118" y="208"/>
                  <a:pt x="138" y="237"/>
                  <a:pt x="173" y="251"/>
                </a:cubicBezTo>
                <a:cubicBezTo>
                  <a:pt x="189" y="257"/>
                  <a:pt x="205" y="261"/>
                  <a:pt x="221" y="264"/>
                </a:cubicBezTo>
                <a:cubicBezTo>
                  <a:pt x="230" y="265"/>
                  <a:pt x="239" y="267"/>
                  <a:pt x="247" y="272"/>
                </a:cubicBezTo>
                <a:cubicBezTo>
                  <a:pt x="262" y="281"/>
                  <a:pt x="276" y="292"/>
                  <a:pt x="285" y="308"/>
                </a:cubicBezTo>
                <a:cubicBezTo>
                  <a:pt x="286" y="310"/>
                  <a:pt x="287" y="312"/>
                  <a:pt x="287" y="314"/>
                </a:cubicBezTo>
                <a:cubicBezTo>
                  <a:pt x="286" y="333"/>
                  <a:pt x="283" y="351"/>
                  <a:pt x="279" y="370"/>
                </a:cubicBezTo>
                <a:cubicBezTo>
                  <a:pt x="276" y="382"/>
                  <a:pt x="273" y="394"/>
                  <a:pt x="268" y="406"/>
                </a:cubicBezTo>
                <a:cubicBezTo>
                  <a:pt x="262" y="423"/>
                  <a:pt x="256" y="440"/>
                  <a:pt x="248" y="457"/>
                </a:cubicBezTo>
                <a:cubicBezTo>
                  <a:pt x="237" y="480"/>
                  <a:pt x="225" y="503"/>
                  <a:pt x="213" y="527"/>
                </a:cubicBezTo>
                <a:cubicBezTo>
                  <a:pt x="210" y="533"/>
                  <a:pt x="206" y="539"/>
                  <a:pt x="203" y="546"/>
                </a:cubicBezTo>
                <a:cubicBezTo>
                  <a:pt x="201" y="543"/>
                  <a:pt x="201" y="540"/>
                  <a:pt x="202" y="538"/>
                </a:cubicBezTo>
                <a:cubicBezTo>
                  <a:pt x="203" y="531"/>
                  <a:pt x="204" y="524"/>
                  <a:pt x="203" y="517"/>
                </a:cubicBezTo>
                <a:cubicBezTo>
                  <a:pt x="203" y="511"/>
                  <a:pt x="205" y="506"/>
                  <a:pt x="207" y="500"/>
                </a:cubicBezTo>
                <a:cubicBezTo>
                  <a:pt x="212" y="490"/>
                  <a:pt x="218" y="479"/>
                  <a:pt x="222" y="468"/>
                </a:cubicBezTo>
                <a:cubicBezTo>
                  <a:pt x="230" y="449"/>
                  <a:pt x="233" y="429"/>
                  <a:pt x="233" y="409"/>
                </a:cubicBezTo>
                <a:cubicBezTo>
                  <a:pt x="233" y="390"/>
                  <a:pt x="230" y="371"/>
                  <a:pt x="224" y="353"/>
                </a:cubicBezTo>
                <a:cubicBezTo>
                  <a:pt x="224" y="352"/>
                  <a:pt x="224" y="350"/>
                  <a:pt x="223" y="350"/>
                </a:cubicBezTo>
                <a:cubicBezTo>
                  <a:pt x="222" y="350"/>
                  <a:pt x="222" y="350"/>
                  <a:pt x="222" y="350"/>
                </a:cubicBezTo>
                <a:cubicBezTo>
                  <a:pt x="220" y="351"/>
                  <a:pt x="221" y="353"/>
                  <a:pt x="222" y="354"/>
                </a:cubicBezTo>
                <a:cubicBezTo>
                  <a:pt x="223" y="360"/>
                  <a:pt x="223" y="365"/>
                  <a:pt x="223" y="371"/>
                </a:cubicBezTo>
                <a:cubicBezTo>
                  <a:pt x="223" y="383"/>
                  <a:pt x="221" y="396"/>
                  <a:pt x="218" y="407"/>
                </a:cubicBezTo>
                <a:cubicBezTo>
                  <a:pt x="213" y="425"/>
                  <a:pt x="208" y="442"/>
                  <a:pt x="205" y="460"/>
                </a:cubicBezTo>
                <a:cubicBezTo>
                  <a:pt x="204" y="470"/>
                  <a:pt x="203" y="480"/>
                  <a:pt x="202" y="489"/>
                </a:cubicBezTo>
                <a:cubicBezTo>
                  <a:pt x="200" y="480"/>
                  <a:pt x="198" y="470"/>
                  <a:pt x="196" y="461"/>
                </a:cubicBezTo>
                <a:cubicBezTo>
                  <a:pt x="195" y="454"/>
                  <a:pt x="195" y="448"/>
                  <a:pt x="197" y="441"/>
                </a:cubicBezTo>
                <a:cubicBezTo>
                  <a:pt x="198" y="436"/>
                  <a:pt x="198" y="430"/>
                  <a:pt x="198" y="425"/>
                </a:cubicBezTo>
                <a:cubicBezTo>
                  <a:pt x="197" y="401"/>
                  <a:pt x="189" y="379"/>
                  <a:pt x="178" y="358"/>
                </a:cubicBezTo>
                <a:cubicBezTo>
                  <a:pt x="167" y="335"/>
                  <a:pt x="152" y="313"/>
                  <a:pt x="141" y="289"/>
                </a:cubicBezTo>
                <a:cubicBezTo>
                  <a:pt x="138" y="283"/>
                  <a:pt x="135" y="277"/>
                  <a:pt x="132" y="271"/>
                </a:cubicBezTo>
                <a:cubicBezTo>
                  <a:pt x="131" y="272"/>
                  <a:pt x="131" y="273"/>
                  <a:pt x="131" y="274"/>
                </a:cubicBezTo>
                <a:cubicBezTo>
                  <a:pt x="132" y="283"/>
                  <a:pt x="133" y="292"/>
                  <a:pt x="134" y="301"/>
                </a:cubicBezTo>
                <a:cubicBezTo>
                  <a:pt x="137" y="337"/>
                  <a:pt x="144" y="371"/>
                  <a:pt x="160" y="403"/>
                </a:cubicBezTo>
                <a:cubicBezTo>
                  <a:pt x="167" y="416"/>
                  <a:pt x="172" y="430"/>
                  <a:pt x="181" y="441"/>
                </a:cubicBezTo>
                <a:cubicBezTo>
                  <a:pt x="187" y="447"/>
                  <a:pt x="190" y="454"/>
                  <a:pt x="191" y="462"/>
                </a:cubicBezTo>
                <a:cubicBezTo>
                  <a:pt x="191" y="468"/>
                  <a:pt x="192" y="473"/>
                  <a:pt x="193" y="479"/>
                </a:cubicBezTo>
                <a:cubicBezTo>
                  <a:pt x="193" y="480"/>
                  <a:pt x="194" y="482"/>
                  <a:pt x="193" y="483"/>
                </a:cubicBezTo>
                <a:cubicBezTo>
                  <a:pt x="187" y="473"/>
                  <a:pt x="179" y="464"/>
                  <a:pt x="169" y="458"/>
                </a:cubicBezTo>
                <a:cubicBezTo>
                  <a:pt x="153" y="447"/>
                  <a:pt x="135" y="439"/>
                  <a:pt x="117" y="431"/>
                </a:cubicBezTo>
                <a:cubicBezTo>
                  <a:pt x="105" y="426"/>
                  <a:pt x="93" y="423"/>
                  <a:pt x="83" y="413"/>
                </a:cubicBezTo>
                <a:cubicBezTo>
                  <a:pt x="83" y="413"/>
                  <a:pt x="82" y="412"/>
                  <a:pt x="81" y="412"/>
                </a:cubicBezTo>
                <a:cubicBezTo>
                  <a:pt x="81" y="412"/>
                  <a:pt x="81" y="412"/>
                  <a:pt x="81" y="412"/>
                </a:cubicBezTo>
                <a:cubicBezTo>
                  <a:pt x="79" y="413"/>
                  <a:pt x="80" y="415"/>
                  <a:pt x="81" y="416"/>
                </a:cubicBezTo>
                <a:cubicBezTo>
                  <a:pt x="88" y="431"/>
                  <a:pt x="97" y="445"/>
                  <a:pt x="109" y="457"/>
                </a:cubicBezTo>
                <a:cubicBezTo>
                  <a:pt x="123" y="472"/>
                  <a:pt x="139" y="481"/>
                  <a:pt x="159" y="484"/>
                </a:cubicBezTo>
                <a:cubicBezTo>
                  <a:pt x="166" y="484"/>
                  <a:pt x="173" y="484"/>
                  <a:pt x="180" y="484"/>
                </a:cubicBezTo>
                <a:cubicBezTo>
                  <a:pt x="180" y="484"/>
                  <a:pt x="180" y="484"/>
                  <a:pt x="180" y="484"/>
                </a:cubicBezTo>
                <a:cubicBezTo>
                  <a:pt x="181" y="484"/>
                  <a:pt x="181" y="484"/>
                  <a:pt x="182" y="484"/>
                </a:cubicBezTo>
                <a:cubicBezTo>
                  <a:pt x="182" y="484"/>
                  <a:pt x="183" y="484"/>
                  <a:pt x="183" y="484"/>
                </a:cubicBezTo>
                <a:cubicBezTo>
                  <a:pt x="185" y="484"/>
                  <a:pt x="186" y="484"/>
                  <a:pt x="187" y="486"/>
                </a:cubicBezTo>
                <a:cubicBezTo>
                  <a:pt x="192" y="490"/>
                  <a:pt x="195" y="495"/>
                  <a:pt x="196" y="502"/>
                </a:cubicBezTo>
                <a:cubicBezTo>
                  <a:pt x="197" y="519"/>
                  <a:pt x="195" y="537"/>
                  <a:pt x="192" y="554"/>
                </a:cubicBezTo>
                <a:cubicBezTo>
                  <a:pt x="191" y="560"/>
                  <a:pt x="192" y="566"/>
                  <a:pt x="189" y="571"/>
                </a:cubicBezTo>
                <a:cubicBezTo>
                  <a:pt x="180" y="590"/>
                  <a:pt x="170" y="609"/>
                  <a:pt x="165" y="629"/>
                </a:cubicBezTo>
                <a:cubicBezTo>
                  <a:pt x="165" y="631"/>
                  <a:pt x="164" y="632"/>
                  <a:pt x="163" y="632"/>
                </a:cubicBezTo>
                <a:cubicBezTo>
                  <a:pt x="162" y="632"/>
                  <a:pt x="162" y="631"/>
                  <a:pt x="161" y="630"/>
                </a:cubicBezTo>
                <a:cubicBezTo>
                  <a:pt x="154" y="620"/>
                  <a:pt x="146" y="610"/>
                  <a:pt x="141" y="599"/>
                </a:cubicBezTo>
                <a:cubicBezTo>
                  <a:pt x="139" y="593"/>
                  <a:pt x="136" y="587"/>
                  <a:pt x="133" y="582"/>
                </a:cubicBezTo>
                <a:cubicBezTo>
                  <a:pt x="123" y="559"/>
                  <a:pt x="109" y="538"/>
                  <a:pt x="90" y="522"/>
                </a:cubicBezTo>
                <a:cubicBezTo>
                  <a:pt x="84" y="517"/>
                  <a:pt x="80" y="512"/>
                  <a:pt x="75" y="507"/>
                </a:cubicBezTo>
                <a:cubicBezTo>
                  <a:pt x="66" y="498"/>
                  <a:pt x="58" y="489"/>
                  <a:pt x="51" y="479"/>
                </a:cubicBezTo>
                <a:cubicBezTo>
                  <a:pt x="51" y="478"/>
                  <a:pt x="50" y="477"/>
                  <a:pt x="49" y="477"/>
                </a:cubicBezTo>
                <a:cubicBezTo>
                  <a:pt x="49" y="477"/>
                  <a:pt x="48" y="477"/>
                  <a:pt x="48" y="478"/>
                </a:cubicBezTo>
                <a:cubicBezTo>
                  <a:pt x="47" y="478"/>
                  <a:pt x="47" y="480"/>
                  <a:pt x="47" y="481"/>
                </a:cubicBezTo>
                <a:cubicBezTo>
                  <a:pt x="47" y="482"/>
                  <a:pt x="47" y="483"/>
                  <a:pt x="47" y="484"/>
                </a:cubicBezTo>
                <a:cubicBezTo>
                  <a:pt x="59" y="527"/>
                  <a:pt x="83" y="563"/>
                  <a:pt x="118" y="592"/>
                </a:cubicBezTo>
                <a:cubicBezTo>
                  <a:pt x="126" y="598"/>
                  <a:pt x="134" y="603"/>
                  <a:pt x="140" y="610"/>
                </a:cubicBezTo>
                <a:cubicBezTo>
                  <a:pt x="144" y="613"/>
                  <a:pt x="147" y="617"/>
                  <a:pt x="149" y="621"/>
                </a:cubicBezTo>
                <a:cubicBezTo>
                  <a:pt x="148" y="621"/>
                  <a:pt x="147" y="621"/>
                  <a:pt x="147" y="621"/>
                </a:cubicBezTo>
                <a:cubicBezTo>
                  <a:pt x="140" y="617"/>
                  <a:pt x="133" y="614"/>
                  <a:pt x="127" y="610"/>
                </a:cubicBezTo>
                <a:cubicBezTo>
                  <a:pt x="99" y="591"/>
                  <a:pt x="70" y="576"/>
                  <a:pt x="36" y="569"/>
                </a:cubicBezTo>
                <a:cubicBezTo>
                  <a:pt x="26" y="567"/>
                  <a:pt x="15" y="565"/>
                  <a:pt x="5" y="565"/>
                </a:cubicBezTo>
                <a:cubicBezTo>
                  <a:pt x="5" y="565"/>
                  <a:pt x="5" y="565"/>
                  <a:pt x="5" y="565"/>
                </a:cubicBezTo>
                <a:cubicBezTo>
                  <a:pt x="4" y="565"/>
                  <a:pt x="4" y="565"/>
                  <a:pt x="4" y="565"/>
                </a:cubicBezTo>
                <a:cubicBezTo>
                  <a:pt x="2" y="565"/>
                  <a:pt x="1" y="565"/>
                  <a:pt x="0" y="567"/>
                </a:cubicBezTo>
                <a:cubicBezTo>
                  <a:pt x="0" y="569"/>
                  <a:pt x="1" y="570"/>
                  <a:pt x="2" y="572"/>
                </a:cubicBezTo>
                <a:cubicBezTo>
                  <a:pt x="9" y="579"/>
                  <a:pt x="16" y="586"/>
                  <a:pt x="23" y="593"/>
                </a:cubicBezTo>
                <a:cubicBezTo>
                  <a:pt x="43" y="611"/>
                  <a:pt x="67" y="623"/>
                  <a:pt x="94" y="624"/>
                </a:cubicBezTo>
                <a:cubicBezTo>
                  <a:pt x="98" y="624"/>
                  <a:pt x="102" y="624"/>
                  <a:pt x="105" y="624"/>
                </a:cubicBezTo>
                <a:cubicBezTo>
                  <a:pt x="117" y="624"/>
                  <a:pt x="129" y="624"/>
                  <a:pt x="140" y="624"/>
                </a:cubicBezTo>
                <a:cubicBezTo>
                  <a:pt x="140" y="624"/>
                  <a:pt x="140" y="624"/>
                  <a:pt x="141" y="624"/>
                </a:cubicBezTo>
                <a:cubicBezTo>
                  <a:pt x="144" y="624"/>
                  <a:pt x="147" y="624"/>
                  <a:pt x="149" y="627"/>
                </a:cubicBezTo>
                <a:cubicBezTo>
                  <a:pt x="150" y="628"/>
                  <a:pt x="151" y="629"/>
                  <a:pt x="151" y="629"/>
                </a:cubicBezTo>
                <a:cubicBezTo>
                  <a:pt x="156" y="629"/>
                  <a:pt x="157" y="633"/>
                  <a:pt x="158" y="637"/>
                </a:cubicBezTo>
                <a:cubicBezTo>
                  <a:pt x="159" y="640"/>
                  <a:pt x="161" y="643"/>
                  <a:pt x="160" y="647"/>
                </a:cubicBezTo>
                <a:cubicBezTo>
                  <a:pt x="157" y="658"/>
                  <a:pt x="155" y="669"/>
                  <a:pt x="153" y="681"/>
                </a:cubicBezTo>
                <a:cubicBezTo>
                  <a:pt x="148" y="711"/>
                  <a:pt x="145" y="742"/>
                  <a:pt x="149" y="773"/>
                </a:cubicBezTo>
                <a:cubicBezTo>
                  <a:pt x="152" y="810"/>
                  <a:pt x="160" y="846"/>
                  <a:pt x="176" y="880"/>
                </a:cubicBezTo>
                <a:cubicBezTo>
                  <a:pt x="179" y="886"/>
                  <a:pt x="182" y="892"/>
                  <a:pt x="187" y="897"/>
                </a:cubicBezTo>
                <a:cubicBezTo>
                  <a:pt x="188" y="898"/>
                  <a:pt x="189" y="900"/>
                  <a:pt x="190" y="900"/>
                </a:cubicBezTo>
                <a:cubicBezTo>
                  <a:pt x="191" y="900"/>
                  <a:pt x="191" y="899"/>
                  <a:pt x="192" y="899"/>
                </a:cubicBezTo>
                <a:cubicBezTo>
                  <a:pt x="194" y="898"/>
                  <a:pt x="192" y="895"/>
                  <a:pt x="191" y="894"/>
                </a:cubicBezTo>
                <a:cubicBezTo>
                  <a:pt x="187" y="887"/>
                  <a:pt x="183" y="880"/>
                  <a:pt x="180" y="873"/>
                </a:cubicBezTo>
                <a:cubicBezTo>
                  <a:pt x="161" y="824"/>
                  <a:pt x="153" y="774"/>
                  <a:pt x="155" y="722"/>
                </a:cubicBezTo>
                <a:cubicBezTo>
                  <a:pt x="156" y="711"/>
                  <a:pt x="156" y="701"/>
                  <a:pt x="161" y="690"/>
                </a:cubicBezTo>
                <a:cubicBezTo>
                  <a:pt x="172" y="672"/>
                  <a:pt x="184" y="656"/>
                  <a:pt x="201" y="644"/>
                </a:cubicBezTo>
                <a:cubicBezTo>
                  <a:pt x="206" y="641"/>
                  <a:pt x="210" y="640"/>
                  <a:pt x="215" y="640"/>
                </a:cubicBezTo>
                <a:cubicBezTo>
                  <a:pt x="217" y="640"/>
                  <a:pt x="219" y="640"/>
                  <a:pt x="221" y="641"/>
                </a:cubicBezTo>
                <a:cubicBezTo>
                  <a:pt x="234" y="645"/>
                  <a:pt x="247" y="648"/>
                  <a:pt x="260" y="653"/>
                </a:cubicBezTo>
                <a:cubicBezTo>
                  <a:pt x="268" y="656"/>
                  <a:pt x="277" y="658"/>
                  <a:pt x="286" y="659"/>
                </a:cubicBezTo>
                <a:cubicBezTo>
                  <a:pt x="292" y="660"/>
                  <a:pt x="299" y="661"/>
                  <a:pt x="305" y="661"/>
                </a:cubicBezTo>
                <a:cubicBezTo>
                  <a:pt x="326" y="661"/>
                  <a:pt x="346" y="656"/>
                  <a:pt x="365" y="644"/>
                </a:cubicBezTo>
                <a:cubicBezTo>
                  <a:pt x="368" y="642"/>
                  <a:pt x="371" y="642"/>
                  <a:pt x="373" y="638"/>
                </a:cubicBezTo>
                <a:cubicBezTo>
                  <a:pt x="369" y="638"/>
                  <a:pt x="366" y="639"/>
                  <a:pt x="362" y="639"/>
                </a:cubicBezTo>
                <a:cubicBezTo>
                  <a:pt x="362" y="639"/>
                  <a:pt x="361" y="639"/>
                  <a:pt x="360" y="638"/>
                </a:cubicBezTo>
                <a:cubicBezTo>
                  <a:pt x="350" y="637"/>
                  <a:pt x="340" y="635"/>
                  <a:pt x="330" y="633"/>
                </a:cubicBezTo>
                <a:cubicBezTo>
                  <a:pt x="319" y="632"/>
                  <a:pt x="309" y="632"/>
                  <a:pt x="299" y="632"/>
                </a:cubicBezTo>
                <a:cubicBezTo>
                  <a:pt x="285" y="632"/>
                  <a:pt x="270" y="633"/>
                  <a:pt x="256" y="637"/>
                </a:cubicBezTo>
                <a:cubicBezTo>
                  <a:pt x="248" y="639"/>
                  <a:pt x="240" y="639"/>
                  <a:pt x="232" y="639"/>
                </a:cubicBezTo>
                <a:cubicBezTo>
                  <a:pt x="232" y="639"/>
                  <a:pt x="232" y="639"/>
                  <a:pt x="232" y="639"/>
                </a:cubicBezTo>
                <a:cubicBezTo>
                  <a:pt x="226" y="639"/>
                  <a:pt x="221" y="637"/>
                  <a:pt x="216" y="635"/>
                </a:cubicBezTo>
                <a:cubicBezTo>
                  <a:pt x="232" y="625"/>
                  <a:pt x="248" y="616"/>
                  <a:pt x="267" y="612"/>
                </a:cubicBezTo>
                <a:cubicBezTo>
                  <a:pt x="285" y="609"/>
                  <a:pt x="302" y="603"/>
                  <a:pt x="317" y="592"/>
                </a:cubicBezTo>
                <a:cubicBezTo>
                  <a:pt x="337" y="579"/>
                  <a:pt x="353" y="562"/>
                  <a:pt x="366" y="543"/>
                </a:cubicBezTo>
                <a:cubicBezTo>
                  <a:pt x="368" y="540"/>
                  <a:pt x="370" y="537"/>
                  <a:pt x="371" y="534"/>
                </a:cubicBezTo>
                <a:cubicBezTo>
                  <a:pt x="372" y="533"/>
                  <a:pt x="374" y="531"/>
                  <a:pt x="372" y="530"/>
                </a:cubicBezTo>
                <a:cubicBezTo>
                  <a:pt x="372" y="530"/>
                  <a:pt x="372" y="530"/>
                  <a:pt x="371" y="530"/>
                </a:cubicBezTo>
                <a:cubicBezTo>
                  <a:pt x="370" y="530"/>
                  <a:pt x="370" y="531"/>
                  <a:pt x="369" y="531"/>
                </a:cubicBezTo>
                <a:cubicBezTo>
                  <a:pt x="368" y="532"/>
                  <a:pt x="367" y="533"/>
                  <a:pt x="366" y="534"/>
                </a:cubicBezTo>
                <a:cubicBezTo>
                  <a:pt x="350" y="546"/>
                  <a:pt x="332" y="554"/>
                  <a:pt x="314" y="563"/>
                </a:cubicBezTo>
                <a:cubicBezTo>
                  <a:pt x="293" y="572"/>
                  <a:pt x="273" y="584"/>
                  <a:pt x="258" y="600"/>
                </a:cubicBezTo>
                <a:cubicBezTo>
                  <a:pt x="247" y="612"/>
                  <a:pt x="234" y="622"/>
                  <a:pt x="220" y="629"/>
                </a:cubicBezTo>
                <a:cubicBezTo>
                  <a:pt x="217" y="630"/>
                  <a:pt x="215" y="631"/>
                  <a:pt x="213" y="633"/>
                </a:cubicBezTo>
                <a:cubicBezTo>
                  <a:pt x="212" y="633"/>
                  <a:pt x="212" y="634"/>
                  <a:pt x="211" y="634"/>
                </a:cubicBezTo>
                <a:cubicBezTo>
                  <a:pt x="211" y="634"/>
                  <a:pt x="211" y="634"/>
                  <a:pt x="211" y="634"/>
                </a:cubicBezTo>
                <a:cubicBezTo>
                  <a:pt x="215" y="617"/>
                  <a:pt x="226" y="606"/>
                  <a:pt x="237" y="595"/>
                </a:cubicBezTo>
                <a:cubicBezTo>
                  <a:pt x="242" y="589"/>
                  <a:pt x="247" y="583"/>
                  <a:pt x="251" y="577"/>
                </a:cubicBezTo>
                <a:cubicBezTo>
                  <a:pt x="263" y="560"/>
                  <a:pt x="266" y="539"/>
                  <a:pt x="274" y="519"/>
                </a:cubicBezTo>
                <a:cubicBezTo>
                  <a:pt x="275" y="517"/>
                  <a:pt x="274" y="517"/>
                  <a:pt x="273" y="517"/>
                </a:cubicBezTo>
                <a:cubicBezTo>
                  <a:pt x="272" y="517"/>
                  <a:pt x="271" y="517"/>
                  <a:pt x="270" y="517"/>
                </a:cubicBezTo>
                <a:cubicBezTo>
                  <a:pt x="260" y="521"/>
                  <a:pt x="251" y="528"/>
                  <a:pt x="244" y="536"/>
                </a:cubicBezTo>
                <a:cubicBezTo>
                  <a:pt x="232" y="551"/>
                  <a:pt x="225" y="568"/>
                  <a:pt x="220" y="586"/>
                </a:cubicBezTo>
                <a:cubicBezTo>
                  <a:pt x="217" y="598"/>
                  <a:pt x="215" y="610"/>
                  <a:pt x="211" y="621"/>
                </a:cubicBezTo>
                <a:cubicBezTo>
                  <a:pt x="208" y="629"/>
                  <a:pt x="206" y="636"/>
                  <a:pt x="200" y="641"/>
                </a:cubicBezTo>
                <a:cubicBezTo>
                  <a:pt x="186" y="650"/>
                  <a:pt x="175" y="662"/>
                  <a:pt x="164" y="674"/>
                </a:cubicBezTo>
                <a:cubicBezTo>
                  <a:pt x="163" y="676"/>
                  <a:pt x="162" y="677"/>
                  <a:pt x="160" y="677"/>
                </a:cubicBezTo>
                <a:cubicBezTo>
                  <a:pt x="161" y="668"/>
                  <a:pt x="163" y="659"/>
                  <a:pt x="165" y="651"/>
                </a:cubicBezTo>
                <a:cubicBezTo>
                  <a:pt x="170" y="632"/>
                  <a:pt x="175" y="613"/>
                  <a:pt x="183" y="595"/>
                </a:cubicBezTo>
                <a:cubicBezTo>
                  <a:pt x="190" y="580"/>
                  <a:pt x="198" y="566"/>
                  <a:pt x="206" y="552"/>
                </a:cubicBezTo>
                <a:cubicBezTo>
                  <a:pt x="216" y="534"/>
                  <a:pt x="222" y="513"/>
                  <a:pt x="237" y="498"/>
                </a:cubicBezTo>
                <a:cubicBezTo>
                  <a:pt x="242" y="494"/>
                  <a:pt x="247" y="488"/>
                  <a:pt x="251" y="483"/>
                </a:cubicBezTo>
                <a:cubicBezTo>
                  <a:pt x="253" y="481"/>
                  <a:pt x="256" y="480"/>
                  <a:pt x="259" y="480"/>
                </a:cubicBezTo>
                <a:cubicBezTo>
                  <a:pt x="259" y="480"/>
                  <a:pt x="260" y="480"/>
                  <a:pt x="260" y="480"/>
                </a:cubicBezTo>
                <a:cubicBezTo>
                  <a:pt x="269" y="481"/>
                  <a:pt x="277" y="482"/>
                  <a:pt x="286" y="485"/>
                </a:cubicBezTo>
                <a:cubicBezTo>
                  <a:pt x="293" y="487"/>
                  <a:pt x="300" y="489"/>
                  <a:pt x="308" y="489"/>
                </a:cubicBezTo>
                <a:cubicBezTo>
                  <a:pt x="312" y="490"/>
                  <a:pt x="315" y="490"/>
                  <a:pt x="319" y="490"/>
                </a:cubicBezTo>
                <a:cubicBezTo>
                  <a:pt x="331" y="490"/>
                  <a:pt x="342" y="488"/>
                  <a:pt x="354" y="486"/>
                </a:cubicBezTo>
                <a:cubicBezTo>
                  <a:pt x="362" y="484"/>
                  <a:pt x="370" y="482"/>
                  <a:pt x="378" y="482"/>
                </a:cubicBezTo>
                <a:cubicBezTo>
                  <a:pt x="379" y="482"/>
                  <a:pt x="381" y="482"/>
                  <a:pt x="382" y="480"/>
                </a:cubicBezTo>
                <a:cubicBezTo>
                  <a:pt x="382" y="478"/>
                  <a:pt x="379" y="478"/>
                  <a:pt x="378" y="478"/>
                </a:cubicBezTo>
                <a:cubicBezTo>
                  <a:pt x="362" y="475"/>
                  <a:pt x="346" y="472"/>
                  <a:pt x="330" y="469"/>
                </a:cubicBezTo>
                <a:cubicBezTo>
                  <a:pt x="319" y="467"/>
                  <a:pt x="309" y="466"/>
                  <a:pt x="299" y="466"/>
                </a:cubicBezTo>
                <a:cubicBezTo>
                  <a:pt x="289" y="466"/>
                  <a:pt x="278" y="467"/>
                  <a:pt x="268" y="470"/>
                </a:cubicBezTo>
                <a:cubicBezTo>
                  <a:pt x="268" y="470"/>
                  <a:pt x="268" y="470"/>
                  <a:pt x="267" y="470"/>
                </a:cubicBezTo>
                <a:cubicBezTo>
                  <a:pt x="267" y="470"/>
                  <a:pt x="266" y="470"/>
                  <a:pt x="266" y="469"/>
                </a:cubicBezTo>
                <a:cubicBezTo>
                  <a:pt x="266" y="469"/>
                  <a:pt x="267" y="468"/>
                  <a:pt x="267" y="468"/>
                </a:cubicBezTo>
                <a:cubicBezTo>
                  <a:pt x="275" y="459"/>
                  <a:pt x="286" y="456"/>
                  <a:pt x="298" y="453"/>
                </a:cubicBezTo>
                <a:cubicBezTo>
                  <a:pt x="315" y="450"/>
                  <a:pt x="332" y="448"/>
                  <a:pt x="349" y="446"/>
                </a:cubicBezTo>
                <a:cubicBezTo>
                  <a:pt x="365" y="444"/>
                  <a:pt x="381" y="442"/>
                  <a:pt x="396" y="436"/>
                </a:cubicBezTo>
                <a:cubicBezTo>
                  <a:pt x="417" y="427"/>
                  <a:pt x="435" y="414"/>
                  <a:pt x="448" y="394"/>
                </a:cubicBezTo>
                <a:cubicBezTo>
                  <a:pt x="449" y="393"/>
                  <a:pt x="451" y="392"/>
                  <a:pt x="450" y="390"/>
                </a:cubicBezTo>
                <a:cubicBezTo>
                  <a:pt x="450" y="389"/>
                  <a:pt x="449" y="389"/>
                  <a:pt x="449" y="389"/>
                </a:cubicBezTo>
                <a:cubicBezTo>
                  <a:pt x="448" y="389"/>
                  <a:pt x="446" y="390"/>
                  <a:pt x="445" y="390"/>
                </a:cubicBezTo>
                <a:cubicBezTo>
                  <a:pt x="432" y="393"/>
                  <a:pt x="419" y="397"/>
                  <a:pt x="405" y="399"/>
                </a:cubicBezTo>
                <a:cubicBezTo>
                  <a:pt x="377" y="403"/>
                  <a:pt x="351" y="412"/>
                  <a:pt x="326" y="424"/>
                </a:cubicBezTo>
                <a:cubicBezTo>
                  <a:pt x="321" y="426"/>
                  <a:pt x="315" y="429"/>
                  <a:pt x="309" y="432"/>
                </a:cubicBezTo>
                <a:cubicBezTo>
                  <a:pt x="309" y="431"/>
                  <a:pt x="309" y="431"/>
                  <a:pt x="310" y="431"/>
                </a:cubicBezTo>
                <a:cubicBezTo>
                  <a:pt x="326" y="413"/>
                  <a:pt x="341" y="395"/>
                  <a:pt x="357" y="377"/>
                </a:cubicBezTo>
                <a:cubicBezTo>
                  <a:pt x="366" y="367"/>
                  <a:pt x="376" y="357"/>
                  <a:pt x="383" y="345"/>
                </a:cubicBezTo>
                <a:cubicBezTo>
                  <a:pt x="383" y="344"/>
                  <a:pt x="385" y="343"/>
                  <a:pt x="383" y="342"/>
                </a:cubicBezTo>
                <a:cubicBezTo>
                  <a:pt x="383" y="341"/>
                  <a:pt x="383" y="341"/>
                  <a:pt x="383" y="341"/>
                </a:cubicBezTo>
                <a:cubicBezTo>
                  <a:pt x="382" y="341"/>
                  <a:pt x="381" y="342"/>
                  <a:pt x="381" y="342"/>
                </a:cubicBezTo>
                <a:cubicBezTo>
                  <a:pt x="368" y="348"/>
                  <a:pt x="357" y="355"/>
                  <a:pt x="347" y="363"/>
                </a:cubicBezTo>
                <a:cubicBezTo>
                  <a:pt x="320" y="382"/>
                  <a:pt x="299" y="406"/>
                  <a:pt x="286" y="437"/>
                </a:cubicBezTo>
                <a:cubicBezTo>
                  <a:pt x="284" y="444"/>
                  <a:pt x="281" y="452"/>
                  <a:pt x="274" y="457"/>
                </a:cubicBezTo>
                <a:cubicBezTo>
                  <a:pt x="266" y="462"/>
                  <a:pt x="258" y="469"/>
                  <a:pt x="251" y="476"/>
                </a:cubicBezTo>
                <a:cubicBezTo>
                  <a:pt x="247" y="480"/>
                  <a:pt x="244" y="484"/>
                  <a:pt x="239" y="487"/>
                </a:cubicBezTo>
                <a:cubicBezTo>
                  <a:pt x="252" y="462"/>
                  <a:pt x="260" y="436"/>
                  <a:pt x="272" y="412"/>
                </a:cubicBezTo>
                <a:cubicBezTo>
                  <a:pt x="278" y="400"/>
                  <a:pt x="285" y="388"/>
                  <a:pt x="296" y="379"/>
                </a:cubicBezTo>
                <a:cubicBezTo>
                  <a:pt x="311" y="367"/>
                  <a:pt x="325" y="353"/>
                  <a:pt x="338" y="338"/>
                </a:cubicBezTo>
                <a:cubicBezTo>
                  <a:pt x="359" y="313"/>
                  <a:pt x="376" y="286"/>
                  <a:pt x="386" y="255"/>
                </a:cubicBezTo>
                <a:cubicBezTo>
                  <a:pt x="391" y="238"/>
                  <a:pt x="395" y="221"/>
                  <a:pt x="398" y="204"/>
                </a:cubicBezTo>
                <a:cubicBezTo>
                  <a:pt x="399" y="200"/>
                  <a:pt x="399" y="196"/>
                  <a:pt x="400" y="191"/>
                </a:cubicBezTo>
                <a:cubicBezTo>
                  <a:pt x="400" y="190"/>
                  <a:pt x="400" y="188"/>
                  <a:pt x="399" y="188"/>
                </a:cubicBezTo>
                <a:cubicBezTo>
                  <a:pt x="398" y="188"/>
                  <a:pt x="398" y="188"/>
                  <a:pt x="398" y="188"/>
                </a:cubicBezTo>
                <a:cubicBezTo>
                  <a:pt x="397" y="188"/>
                  <a:pt x="397" y="189"/>
                  <a:pt x="397" y="190"/>
                </a:cubicBezTo>
                <a:cubicBezTo>
                  <a:pt x="396" y="192"/>
                  <a:pt x="396" y="194"/>
                  <a:pt x="395" y="196"/>
                </a:cubicBezTo>
                <a:cubicBezTo>
                  <a:pt x="388" y="211"/>
                  <a:pt x="379" y="225"/>
                  <a:pt x="369" y="239"/>
                </a:cubicBezTo>
                <a:cubicBezTo>
                  <a:pt x="354" y="258"/>
                  <a:pt x="338" y="277"/>
                  <a:pt x="325" y="298"/>
                </a:cubicBezTo>
                <a:cubicBezTo>
                  <a:pt x="311" y="319"/>
                  <a:pt x="299" y="342"/>
                  <a:pt x="292" y="367"/>
                </a:cubicBezTo>
                <a:cubicBezTo>
                  <a:pt x="289" y="376"/>
                  <a:pt x="283" y="383"/>
                  <a:pt x="278" y="391"/>
                </a:cubicBezTo>
                <a:cubicBezTo>
                  <a:pt x="281" y="380"/>
                  <a:pt x="283" y="369"/>
                  <a:pt x="285" y="357"/>
                </a:cubicBezTo>
                <a:cubicBezTo>
                  <a:pt x="291" y="327"/>
                  <a:pt x="292" y="297"/>
                  <a:pt x="291" y="267"/>
                </a:cubicBezTo>
                <a:cubicBezTo>
                  <a:pt x="291" y="258"/>
                  <a:pt x="292" y="249"/>
                  <a:pt x="295" y="240"/>
                </a:cubicBezTo>
                <a:cubicBezTo>
                  <a:pt x="296" y="238"/>
                  <a:pt x="297" y="236"/>
                  <a:pt x="299" y="235"/>
                </a:cubicBezTo>
                <a:cubicBezTo>
                  <a:pt x="305" y="233"/>
                  <a:pt x="311" y="231"/>
                  <a:pt x="317" y="230"/>
                </a:cubicBezTo>
                <a:cubicBezTo>
                  <a:pt x="353" y="220"/>
                  <a:pt x="377" y="196"/>
                  <a:pt x="393" y="165"/>
                </a:cubicBezTo>
                <a:cubicBezTo>
                  <a:pt x="394" y="164"/>
                  <a:pt x="396" y="161"/>
                  <a:pt x="393" y="160"/>
                </a:cubicBezTo>
                <a:cubicBezTo>
                  <a:pt x="393" y="160"/>
                  <a:pt x="392" y="160"/>
                  <a:pt x="392" y="160"/>
                </a:cubicBezTo>
                <a:cubicBezTo>
                  <a:pt x="391" y="160"/>
                  <a:pt x="390" y="161"/>
                  <a:pt x="389" y="162"/>
                </a:cubicBezTo>
                <a:cubicBezTo>
                  <a:pt x="379" y="174"/>
                  <a:pt x="367" y="184"/>
                  <a:pt x="353" y="191"/>
                </a:cubicBezTo>
                <a:cubicBezTo>
                  <a:pt x="342" y="198"/>
                  <a:pt x="332" y="205"/>
                  <a:pt x="321" y="211"/>
                </a:cubicBezTo>
                <a:cubicBezTo>
                  <a:pt x="313" y="216"/>
                  <a:pt x="307" y="223"/>
                  <a:pt x="299" y="228"/>
                </a:cubicBezTo>
                <a:cubicBezTo>
                  <a:pt x="301" y="224"/>
                  <a:pt x="302" y="219"/>
                  <a:pt x="305" y="216"/>
                </a:cubicBezTo>
                <a:cubicBezTo>
                  <a:pt x="313" y="204"/>
                  <a:pt x="323" y="192"/>
                  <a:pt x="332" y="181"/>
                </a:cubicBezTo>
                <a:cubicBezTo>
                  <a:pt x="343" y="169"/>
                  <a:pt x="353" y="156"/>
                  <a:pt x="362" y="141"/>
                </a:cubicBezTo>
                <a:cubicBezTo>
                  <a:pt x="375" y="118"/>
                  <a:pt x="378" y="91"/>
                  <a:pt x="385" y="65"/>
                </a:cubicBezTo>
                <a:cubicBezTo>
                  <a:pt x="385" y="64"/>
                  <a:pt x="385" y="62"/>
                  <a:pt x="383" y="62"/>
                </a:cubicBezTo>
                <a:cubicBezTo>
                  <a:pt x="383" y="62"/>
                  <a:pt x="383" y="62"/>
                  <a:pt x="383" y="62"/>
                </a:cubicBezTo>
                <a:cubicBezTo>
                  <a:pt x="382" y="62"/>
                  <a:pt x="381" y="63"/>
                  <a:pt x="380" y="64"/>
                </a:cubicBezTo>
                <a:cubicBezTo>
                  <a:pt x="380" y="68"/>
                  <a:pt x="378" y="72"/>
                  <a:pt x="376" y="75"/>
                </a:cubicBezTo>
                <a:cubicBezTo>
                  <a:pt x="368" y="88"/>
                  <a:pt x="360" y="100"/>
                  <a:pt x="352" y="113"/>
                </a:cubicBezTo>
                <a:cubicBezTo>
                  <a:pt x="337" y="136"/>
                  <a:pt x="324" y="160"/>
                  <a:pt x="315" y="186"/>
                </a:cubicBezTo>
                <a:cubicBezTo>
                  <a:pt x="312" y="194"/>
                  <a:pt x="308" y="203"/>
                  <a:pt x="305" y="211"/>
                </a:cubicBezTo>
                <a:cubicBezTo>
                  <a:pt x="302" y="217"/>
                  <a:pt x="298" y="221"/>
                  <a:pt x="296" y="227"/>
                </a:cubicBezTo>
                <a:cubicBezTo>
                  <a:pt x="294" y="231"/>
                  <a:pt x="292" y="235"/>
                  <a:pt x="290" y="240"/>
                </a:cubicBezTo>
                <a:cubicBezTo>
                  <a:pt x="289" y="239"/>
                  <a:pt x="289" y="239"/>
                  <a:pt x="288" y="239"/>
                </a:cubicBezTo>
                <a:cubicBezTo>
                  <a:pt x="288" y="228"/>
                  <a:pt x="283" y="217"/>
                  <a:pt x="284" y="205"/>
                </a:cubicBezTo>
                <a:cubicBezTo>
                  <a:pt x="285" y="190"/>
                  <a:pt x="287" y="176"/>
                  <a:pt x="294" y="162"/>
                </a:cubicBezTo>
                <a:cubicBezTo>
                  <a:pt x="300" y="149"/>
                  <a:pt x="308" y="136"/>
                  <a:pt x="312" y="122"/>
                </a:cubicBezTo>
                <a:cubicBezTo>
                  <a:pt x="318" y="105"/>
                  <a:pt x="319" y="87"/>
                  <a:pt x="313" y="70"/>
                </a:cubicBezTo>
                <a:cubicBezTo>
                  <a:pt x="309" y="61"/>
                  <a:pt x="303" y="53"/>
                  <a:pt x="300" y="44"/>
                </a:cubicBezTo>
                <a:cubicBezTo>
                  <a:pt x="299" y="43"/>
                  <a:pt x="299" y="42"/>
                  <a:pt x="298" y="42"/>
                </a:cubicBezTo>
                <a:cubicBezTo>
                  <a:pt x="298" y="42"/>
                  <a:pt x="297" y="42"/>
                  <a:pt x="297" y="42"/>
                </a:cubicBezTo>
                <a:cubicBezTo>
                  <a:pt x="296" y="42"/>
                  <a:pt x="296" y="44"/>
                  <a:pt x="296" y="45"/>
                </a:cubicBezTo>
                <a:cubicBezTo>
                  <a:pt x="297" y="53"/>
                  <a:pt x="297" y="60"/>
                  <a:pt x="297" y="68"/>
                </a:cubicBezTo>
                <a:cubicBezTo>
                  <a:pt x="296" y="88"/>
                  <a:pt x="293" y="108"/>
                  <a:pt x="290" y="128"/>
                </a:cubicBezTo>
                <a:cubicBezTo>
                  <a:pt x="288" y="151"/>
                  <a:pt x="283" y="174"/>
                  <a:pt x="280" y="197"/>
                </a:cubicBezTo>
                <a:cubicBezTo>
                  <a:pt x="277" y="193"/>
                  <a:pt x="277" y="189"/>
                  <a:pt x="276" y="186"/>
                </a:cubicBezTo>
                <a:cubicBezTo>
                  <a:pt x="270" y="167"/>
                  <a:pt x="262" y="149"/>
                  <a:pt x="257" y="131"/>
                </a:cubicBezTo>
                <a:cubicBezTo>
                  <a:pt x="244" y="85"/>
                  <a:pt x="218" y="47"/>
                  <a:pt x="179" y="19"/>
                </a:cubicBezTo>
                <a:cubicBezTo>
                  <a:pt x="170" y="12"/>
                  <a:pt x="162" y="6"/>
                  <a:pt x="152" y="1"/>
                </a:cubicBezTo>
                <a:cubicBezTo>
                  <a:pt x="151" y="1"/>
                  <a:pt x="150" y="0"/>
                  <a:pt x="149" y="0"/>
                </a:cubicBezTo>
              </a:path>
            </a:pathLst>
          </a:custGeom>
          <a:gradFill flip="none" rotWithShape="1">
            <a:gsLst>
              <a:gs pos="15000">
                <a:schemeClr val="accent1">
                  <a:lumMod val="40000"/>
                  <a:lumOff val="60000"/>
                  <a:alpha val="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24" name="任意多边形: 形状 23"/>
          <p:cNvSpPr>
            <a:spLocks noEditPoints="1"/>
          </p:cNvSpPr>
          <p:nvPr/>
        </p:nvSpPr>
        <p:spPr bwMode="auto">
          <a:xfrm>
            <a:off x="4013551" y="6290367"/>
            <a:ext cx="939889" cy="662195"/>
          </a:xfrm>
          <a:custGeom>
            <a:avLst/>
            <a:gdLst>
              <a:gd name="T0" fmla="*/ 65 w 517"/>
              <a:gd name="T1" fmla="*/ 299 h 363"/>
              <a:gd name="T2" fmla="*/ 219 w 517"/>
              <a:gd name="T3" fmla="*/ 317 h 363"/>
              <a:gd name="T4" fmla="*/ 244 w 517"/>
              <a:gd name="T5" fmla="*/ 322 h 363"/>
              <a:gd name="T6" fmla="*/ 173 w 517"/>
              <a:gd name="T7" fmla="*/ 263 h 363"/>
              <a:gd name="T8" fmla="*/ 311 w 517"/>
              <a:gd name="T9" fmla="*/ 252 h 363"/>
              <a:gd name="T10" fmla="*/ 184 w 517"/>
              <a:gd name="T11" fmla="*/ 219 h 363"/>
              <a:gd name="T12" fmla="*/ 222 w 517"/>
              <a:gd name="T13" fmla="*/ 188 h 363"/>
              <a:gd name="T14" fmla="*/ 291 w 517"/>
              <a:gd name="T15" fmla="*/ 166 h 363"/>
              <a:gd name="T16" fmla="*/ 406 w 517"/>
              <a:gd name="T17" fmla="*/ 160 h 363"/>
              <a:gd name="T18" fmla="*/ 38 w 517"/>
              <a:gd name="T19" fmla="*/ 263 h 363"/>
              <a:gd name="T20" fmla="*/ 77 w 517"/>
              <a:gd name="T21" fmla="*/ 157 h 363"/>
              <a:gd name="T22" fmla="*/ 455 w 517"/>
              <a:gd name="T23" fmla="*/ 85 h 363"/>
              <a:gd name="T24" fmla="*/ 117 w 517"/>
              <a:gd name="T25" fmla="*/ 67 h 363"/>
              <a:gd name="T26" fmla="*/ 206 w 517"/>
              <a:gd name="T27" fmla="*/ 184 h 363"/>
              <a:gd name="T28" fmla="*/ 218 w 517"/>
              <a:gd name="T29" fmla="*/ 148 h 363"/>
              <a:gd name="T30" fmla="*/ 164 w 517"/>
              <a:gd name="T31" fmla="*/ 195 h 363"/>
              <a:gd name="T32" fmla="*/ 248 w 517"/>
              <a:gd name="T33" fmla="*/ 144 h 363"/>
              <a:gd name="T34" fmla="*/ 243 w 517"/>
              <a:gd name="T35" fmla="*/ 136 h 363"/>
              <a:gd name="T36" fmla="*/ 225 w 517"/>
              <a:gd name="T37" fmla="*/ 146 h 363"/>
              <a:gd name="T38" fmla="*/ 265 w 517"/>
              <a:gd name="T39" fmla="*/ 8 h 363"/>
              <a:gd name="T40" fmla="*/ 190 w 517"/>
              <a:gd name="T41" fmla="*/ 195 h 363"/>
              <a:gd name="T42" fmla="*/ 183 w 517"/>
              <a:gd name="T43" fmla="*/ 22 h 363"/>
              <a:gd name="T44" fmla="*/ 175 w 517"/>
              <a:gd name="T45" fmla="*/ 26 h 363"/>
              <a:gd name="T46" fmla="*/ 158 w 517"/>
              <a:gd name="T47" fmla="*/ 216 h 363"/>
              <a:gd name="T48" fmla="*/ 121 w 517"/>
              <a:gd name="T49" fmla="*/ 84 h 363"/>
              <a:gd name="T50" fmla="*/ 116 w 517"/>
              <a:gd name="T51" fmla="*/ 62 h 363"/>
              <a:gd name="T52" fmla="*/ 121 w 517"/>
              <a:gd name="T53" fmla="*/ 239 h 363"/>
              <a:gd name="T54" fmla="*/ 89 w 517"/>
              <a:gd name="T55" fmla="*/ 200 h 363"/>
              <a:gd name="T56" fmla="*/ 53 w 517"/>
              <a:gd name="T57" fmla="*/ 127 h 363"/>
              <a:gd name="T58" fmla="*/ 51 w 517"/>
              <a:gd name="T59" fmla="*/ 269 h 363"/>
              <a:gd name="T60" fmla="*/ 23 w 517"/>
              <a:gd name="T61" fmla="*/ 112 h 363"/>
              <a:gd name="T62" fmla="*/ 33 w 517"/>
              <a:gd name="T63" fmla="*/ 268 h 363"/>
              <a:gd name="T64" fmla="*/ 4 w 517"/>
              <a:gd name="T65" fmla="*/ 287 h 363"/>
              <a:gd name="T66" fmla="*/ 42 w 517"/>
              <a:gd name="T67" fmla="*/ 283 h 363"/>
              <a:gd name="T68" fmla="*/ 180 w 517"/>
              <a:gd name="T69" fmla="*/ 363 h 363"/>
              <a:gd name="T70" fmla="*/ 61 w 517"/>
              <a:gd name="T71" fmla="*/ 278 h 363"/>
              <a:gd name="T72" fmla="*/ 88 w 517"/>
              <a:gd name="T73" fmla="*/ 264 h 363"/>
              <a:gd name="T74" fmla="*/ 246 w 517"/>
              <a:gd name="T75" fmla="*/ 326 h 363"/>
              <a:gd name="T76" fmla="*/ 225 w 517"/>
              <a:gd name="T77" fmla="*/ 305 h 363"/>
              <a:gd name="T78" fmla="*/ 131 w 517"/>
              <a:gd name="T79" fmla="*/ 243 h 363"/>
              <a:gd name="T80" fmla="*/ 306 w 517"/>
              <a:gd name="T81" fmla="*/ 298 h 363"/>
              <a:gd name="T82" fmla="*/ 292 w 517"/>
              <a:gd name="T83" fmla="*/ 284 h 363"/>
              <a:gd name="T84" fmla="*/ 167 w 517"/>
              <a:gd name="T85" fmla="*/ 221 h 363"/>
              <a:gd name="T86" fmla="*/ 280 w 517"/>
              <a:gd name="T87" fmla="*/ 251 h 363"/>
              <a:gd name="T88" fmla="*/ 342 w 517"/>
              <a:gd name="T89" fmla="*/ 259 h 363"/>
              <a:gd name="T90" fmla="*/ 180 w 517"/>
              <a:gd name="T91" fmla="*/ 212 h 363"/>
              <a:gd name="T92" fmla="*/ 214 w 517"/>
              <a:gd name="T93" fmla="*/ 195 h 363"/>
              <a:gd name="T94" fmla="*/ 355 w 517"/>
              <a:gd name="T95" fmla="*/ 209 h 363"/>
              <a:gd name="T96" fmla="*/ 397 w 517"/>
              <a:gd name="T97" fmla="*/ 208 h 363"/>
              <a:gd name="T98" fmla="*/ 240 w 517"/>
              <a:gd name="T99" fmla="*/ 167 h 363"/>
              <a:gd name="T100" fmla="*/ 372 w 517"/>
              <a:gd name="T101" fmla="*/ 169 h 363"/>
              <a:gd name="T102" fmla="*/ 457 w 517"/>
              <a:gd name="T103" fmla="*/ 162 h 363"/>
              <a:gd name="T104" fmla="*/ 328 w 517"/>
              <a:gd name="T105" fmla="*/ 143 h 363"/>
              <a:gd name="T106" fmla="*/ 351 w 517"/>
              <a:gd name="T107" fmla="*/ 123 h 363"/>
              <a:gd name="T108" fmla="*/ 508 w 517"/>
              <a:gd name="T109" fmla="*/ 90 h 363"/>
              <a:gd name="T110" fmla="*/ 457 w 517"/>
              <a:gd name="T111" fmla="*/ 77 h 363"/>
              <a:gd name="T112" fmla="*/ 265 w 517"/>
              <a:gd name="T113" fmla="*/ 138 h 363"/>
              <a:gd name="T114" fmla="*/ 372 w 517"/>
              <a:gd name="T115" fmla="*/ 0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7" h="363">
                <a:moveTo>
                  <a:pt x="169" y="353"/>
                </a:moveTo>
                <a:cubicBezTo>
                  <a:pt x="168" y="353"/>
                  <a:pt x="167" y="353"/>
                  <a:pt x="167" y="352"/>
                </a:cubicBezTo>
                <a:cubicBezTo>
                  <a:pt x="148" y="344"/>
                  <a:pt x="130" y="337"/>
                  <a:pt x="112" y="328"/>
                </a:cubicBezTo>
                <a:cubicBezTo>
                  <a:pt x="95" y="321"/>
                  <a:pt x="79" y="312"/>
                  <a:pt x="65" y="299"/>
                </a:cubicBezTo>
                <a:cubicBezTo>
                  <a:pt x="60" y="294"/>
                  <a:pt x="55" y="289"/>
                  <a:pt x="48" y="283"/>
                </a:cubicBezTo>
                <a:cubicBezTo>
                  <a:pt x="88" y="290"/>
                  <a:pt x="153" y="325"/>
                  <a:pt x="169" y="353"/>
                </a:cubicBezTo>
                <a:moveTo>
                  <a:pt x="244" y="323"/>
                </a:moveTo>
                <a:cubicBezTo>
                  <a:pt x="235" y="321"/>
                  <a:pt x="227" y="320"/>
                  <a:pt x="219" y="317"/>
                </a:cubicBezTo>
                <a:cubicBezTo>
                  <a:pt x="200" y="312"/>
                  <a:pt x="182" y="307"/>
                  <a:pt x="164" y="301"/>
                </a:cubicBezTo>
                <a:cubicBezTo>
                  <a:pt x="145" y="295"/>
                  <a:pt x="127" y="287"/>
                  <a:pt x="112" y="274"/>
                </a:cubicBezTo>
                <a:cubicBezTo>
                  <a:pt x="110" y="272"/>
                  <a:pt x="107" y="271"/>
                  <a:pt x="106" y="268"/>
                </a:cubicBezTo>
                <a:cubicBezTo>
                  <a:pt x="159" y="274"/>
                  <a:pt x="203" y="294"/>
                  <a:pt x="244" y="322"/>
                </a:cubicBezTo>
                <a:cubicBezTo>
                  <a:pt x="244" y="322"/>
                  <a:pt x="244" y="323"/>
                  <a:pt x="244" y="323"/>
                </a:cubicBezTo>
                <a:moveTo>
                  <a:pt x="294" y="292"/>
                </a:moveTo>
                <a:cubicBezTo>
                  <a:pt x="285" y="290"/>
                  <a:pt x="277" y="288"/>
                  <a:pt x="270" y="287"/>
                </a:cubicBezTo>
                <a:cubicBezTo>
                  <a:pt x="237" y="281"/>
                  <a:pt x="204" y="274"/>
                  <a:pt x="173" y="263"/>
                </a:cubicBezTo>
                <a:cubicBezTo>
                  <a:pt x="161" y="259"/>
                  <a:pt x="152" y="252"/>
                  <a:pt x="142" y="243"/>
                </a:cubicBezTo>
                <a:cubicBezTo>
                  <a:pt x="199" y="247"/>
                  <a:pt x="250" y="260"/>
                  <a:pt x="294" y="292"/>
                </a:cubicBezTo>
                <a:moveTo>
                  <a:pt x="319" y="253"/>
                </a:moveTo>
                <a:cubicBezTo>
                  <a:pt x="316" y="253"/>
                  <a:pt x="314" y="252"/>
                  <a:pt x="311" y="252"/>
                </a:cubicBezTo>
                <a:cubicBezTo>
                  <a:pt x="299" y="250"/>
                  <a:pt x="286" y="247"/>
                  <a:pt x="274" y="246"/>
                </a:cubicBezTo>
                <a:cubicBezTo>
                  <a:pt x="246" y="243"/>
                  <a:pt x="219" y="237"/>
                  <a:pt x="194" y="226"/>
                </a:cubicBezTo>
                <a:cubicBezTo>
                  <a:pt x="190" y="225"/>
                  <a:pt x="186" y="223"/>
                  <a:pt x="181" y="219"/>
                </a:cubicBezTo>
                <a:cubicBezTo>
                  <a:pt x="182" y="219"/>
                  <a:pt x="183" y="219"/>
                  <a:pt x="184" y="219"/>
                </a:cubicBezTo>
                <a:cubicBezTo>
                  <a:pt x="235" y="219"/>
                  <a:pt x="280" y="228"/>
                  <a:pt x="321" y="253"/>
                </a:cubicBezTo>
                <a:cubicBezTo>
                  <a:pt x="320" y="253"/>
                  <a:pt x="320" y="253"/>
                  <a:pt x="319" y="253"/>
                </a:cubicBezTo>
                <a:moveTo>
                  <a:pt x="368" y="205"/>
                </a:moveTo>
                <a:cubicBezTo>
                  <a:pt x="318" y="203"/>
                  <a:pt x="268" y="207"/>
                  <a:pt x="222" y="188"/>
                </a:cubicBezTo>
                <a:cubicBezTo>
                  <a:pt x="235" y="186"/>
                  <a:pt x="247" y="186"/>
                  <a:pt x="259" y="186"/>
                </a:cubicBezTo>
                <a:cubicBezTo>
                  <a:pt x="296" y="186"/>
                  <a:pt x="333" y="192"/>
                  <a:pt x="368" y="205"/>
                </a:cubicBezTo>
                <a:moveTo>
                  <a:pt x="304" y="166"/>
                </a:moveTo>
                <a:cubicBezTo>
                  <a:pt x="300" y="166"/>
                  <a:pt x="295" y="166"/>
                  <a:pt x="291" y="166"/>
                </a:cubicBezTo>
                <a:cubicBezTo>
                  <a:pt x="280" y="166"/>
                  <a:pt x="270" y="164"/>
                  <a:pt x="258" y="161"/>
                </a:cubicBezTo>
                <a:cubicBezTo>
                  <a:pt x="276" y="154"/>
                  <a:pt x="312" y="150"/>
                  <a:pt x="347" y="150"/>
                </a:cubicBezTo>
                <a:cubicBezTo>
                  <a:pt x="376" y="150"/>
                  <a:pt x="403" y="152"/>
                  <a:pt x="417" y="158"/>
                </a:cubicBezTo>
                <a:cubicBezTo>
                  <a:pt x="414" y="160"/>
                  <a:pt x="410" y="159"/>
                  <a:pt x="406" y="160"/>
                </a:cubicBezTo>
                <a:cubicBezTo>
                  <a:pt x="372" y="163"/>
                  <a:pt x="338" y="166"/>
                  <a:pt x="304" y="166"/>
                </a:cubicBezTo>
                <a:moveTo>
                  <a:pt x="38" y="263"/>
                </a:moveTo>
                <a:cubicBezTo>
                  <a:pt x="17" y="234"/>
                  <a:pt x="6" y="150"/>
                  <a:pt x="21" y="120"/>
                </a:cubicBezTo>
                <a:cubicBezTo>
                  <a:pt x="25" y="168"/>
                  <a:pt x="41" y="213"/>
                  <a:pt x="38" y="263"/>
                </a:cubicBezTo>
                <a:moveTo>
                  <a:pt x="85" y="238"/>
                </a:moveTo>
                <a:cubicBezTo>
                  <a:pt x="63" y="193"/>
                  <a:pt x="48" y="145"/>
                  <a:pt x="66" y="93"/>
                </a:cubicBezTo>
                <a:cubicBezTo>
                  <a:pt x="66" y="94"/>
                  <a:pt x="66" y="94"/>
                  <a:pt x="66" y="95"/>
                </a:cubicBezTo>
                <a:cubicBezTo>
                  <a:pt x="68" y="116"/>
                  <a:pt x="73" y="136"/>
                  <a:pt x="77" y="157"/>
                </a:cubicBezTo>
                <a:cubicBezTo>
                  <a:pt x="82" y="182"/>
                  <a:pt x="87" y="207"/>
                  <a:pt x="86" y="233"/>
                </a:cubicBezTo>
                <a:cubicBezTo>
                  <a:pt x="86" y="235"/>
                  <a:pt x="87" y="237"/>
                  <a:pt x="85" y="238"/>
                </a:cubicBezTo>
                <a:moveTo>
                  <a:pt x="314" y="121"/>
                </a:moveTo>
                <a:cubicBezTo>
                  <a:pt x="359" y="96"/>
                  <a:pt x="406" y="85"/>
                  <a:pt x="455" y="85"/>
                </a:cubicBezTo>
                <a:cubicBezTo>
                  <a:pt x="466" y="85"/>
                  <a:pt x="476" y="86"/>
                  <a:pt x="486" y="87"/>
                </a:cubicBezTo>
                <a:cubicBezTo>
                  <a:pt x="429" y="101"/>
                  <a:pt x="372" y="115"/>
                  <a:pt x="314" y="121"/>
                </a:cubicBezTo>
                <a:moveTo>
                  <a:pt x="127" y="227"/>
                </a:moveTo>
                <a:cubicBezTo>
                  <a:pt x="105" y="176"/>
                  <a:pt x="96" y="124"/>
                  <a:pt x="117" y="67"/>
                </a:cubicBezTo>
                <a:cubicBezTo>
                  <a:pt x="117" y="70"/>
                  <a:pt x="117" y="72"/>
                  <a:pt x="118" y="74"/>
                </a:cubicBezTo>
                <a:cubicBezTo>
                  <a:pt x="121" y="118"/>
                  <a:pt x="125" y="162"/>
                  <a:pt x="129" y="206"/>
                </a:cubicBezTo>
                <a:cubicBezTo>
                  <a:pt x="130" y="213"/>
                  <a:pt x="130" y="220"/>
                  <a:pt x="127" y="227"/>
                </a:cubicBezTo>
                <a:moveTo>
                  <a:pt x="206" y="184"/>
                </a:moveTo>
                <a:cubicBezTo>
                  <a:pt x="201" y="140"/>
                  <a:pt x="222" y="69"/>
                  <a:pt x="249" y="39"/>
                </a:cubicBezTo>
                <a:cubicBezTo>
                  <a:pt x="245" y="51"/>
                  <a:pt x="241" y="63"/>
                  <a:pt x="238" y="75"/>
                </a:cubicBezTo>
                <a:cubicBezTo>
                  <a:pt x="235" y="87"/>
                  <a:pt x="232" y="99"/>
                  <a:pt x="228" y="111"/>
                </a:cubicBezTo>
                <a:cubicBezTo>
                  <a:pt x="225" y="124"/>
                  <a:pt x="222" y="136"/>
                  <a:pt x="218" y="148"/>
                </a:cubicBezTo>
                <a:cubicBezTo>
                  <a:pt x="215" y="160"/>
                  <a:pt x="211" y="171"/>
                  <a:pt x="206" y="184"/>
                </a:cubicBezTo>
                <a:moveTo>
                  <a:pt x="164" y="195"/>
                </a:moveTo>
                <a:cubicBezTo>
                  <a:pt x="142" y="146"/>
                  <a:pt x="148" y="79"/>
                  <a:pt x="180" y="29"/>
                </a:cubicBezTo>
                <a:cubicBezTo>
                  <a:pt x="182" y="56"/>
                  <a:pt x="170" y="186"/>
                  <a:pt x="164" y="195"/>
                </a:cubicBezTo>
                <a:moveTo>
                  <a:pt x="248" y="144"/>
                </a:moveTo>
                <a:cubicBezTo>
                  <a:pt x="257" y="116"/>
                  <a:pt x="270" y="91"/>
                  <a:pt x="290" y="68"/>
                </a:cubicBezTo>
                <a:cubicBezTo>
                  <a:pt x="305" y="50"/>
                  <a:pt x="349" y="14"/>
                  <a:pt x="358" y="11"/>
                </a:cubicBezTo>
                <a:cubicBezTo>
                  <a:pt x="321" y="56"/>
                  <a:pt x="290" y="104"/>
                  <a:pt x="248" y="144"/>
                </a:cubicBezTo>
                <a:moveTo>
                  <a:pt x="372" y="0"/>
                </a:moveTo>
                <a:cubicBezTo>
                  <a:pt x="365" y="1"/>
                  <a:pt x="359" y="5"/>
                  <a:pt x="353" y="9"/>
                </a:cubicBezTo>
                <a:cubicBezTo>
                  <a:pt x="314" y="31"/>
                  <a:pt x="283" y="61"/>
                  <a:pt x="260" y="99"/>
                </a:cubicBezTo>
                <a:cubicBezTo>
                  <a:pt x="253" y="111"/>
                  <a:pt x="247" y="123"/>
                  <a:pt x="243" y="136"/>
                </a:cubicBezTo>
                <a:cubicBezTo>
                  <a:pt x="240" y="145"/>
                  <a:pt x="236" y="153"/>
                  <a:pt x="234" y="162"/>
                </a:cubicBezTo>
                <a:cubicBezTo>
                  <a:pt x="234" y="162"/>
                  <a:pt x="233" y="163"/>
                  <a:pt x="232" y="164"/>
                </a:cubicBezTo>
                <a:cubicBezTo>
                  <a:pt x="228" y="167"/>
                  <a:pt x="223" y="171"/>
                  <a:pt x="217" y="175"/>
                </a:cubicBezTo>
                <a:cubicBezTo>
                  <a:pt x="220" y="164"/>
                  <a:pt x="223" y="155"/>
                  <a:pt x="225" y="146"/>
                </a:cubicBezTo>
                <a:cubicBezTo>
                  <a:pt x="236" y="112"/>
                  <a:pt x="242" y="78"/>
                  <a:pt x="254" y="45"/>
                </a:cubicBezTo>
                <a:cubicBezTo>
                  <a:pt x="258" y="34"/>
                  <a:pt x="262" y="23"/>
                  <a:pt x="266" y="12"/>
                </a:cubicBezTo>
                <a:cubicBezTo>
                  <a:pt x="267" y="11"/>
                  <a:pt x="268" y="9"/>
                  <a:pt x="266" y="8"/>
                </a:cubicBezTo>
                <a:cubicBezTo>
                  <a:pt x="266" y="8"/>
                  <a:pt x="266" y="8"/>
                  <a:pt x="265" y="8"/>
                </a:cubicBezTo>
                <a:cubicBezTo>
                  <a:pt x="264" y="8"/>
                  <a:pt x="263" y="9"/>
                  <a:pt x="262" y="10"/>
                </a:cubicBezTo>
                <a:cubicBezTo>
                  <a:pt x="233" y="43"/>
                  <a:pt x="213" y="78"/>
                  <a:pt x="204" y="119"/>
                </a:cubicBezTo>
                <a:cubicBezTo>
                  <a:pt x="200" y="139"/>
                  <a:pt x="198" y="159"/>
                  <a:pt x="199" y="179"/>
                </a:cubicBezTo>
                <a:cubicBezTo>
                  <a:pt x="200" y="187"/>
                  <a:pt x="197" y="191"/>
                  <a:pt x="190" y="195"/>
                </a:cubicBezTo>
                <a:cubicBezTo>
                  <a:pt x="184" y="198"/>
                  <a:pt x="179" y="203"/>
                  <a:pt x="172" y="207"/>
                </a:cubicBezTo>
                <a:cubicBezTo>
                  <a:pt x="173" y="200"/>
                  <a:pt x="174" y="194"/>
                  <a:pt x="174" y="187"/>
                </a:cubicBezTo>
                <a:cubicBezTo>
                  <a:pt x="180" y="147"/>
                  <a:pt x="183" y="107"/>
                  <a:pt x="183" y="67"/>
                </a:cubicBezTo>
                <a:cubicBezTo>
                  <a:pt x="183" y="52"/>
                  <a:pt x="180" y="37"/>
                  <a:pt x="183" y="22"/>
                </a:cubicBezTo>
                <a:cubicBezTo>
                  <a:pt x="183" y="21"/>
                  <a:pt x="183" y="20"/>
                  <a:pt x="182" y="19"/>
                </a:cubicBezTo>
                <a:cubicBezTo>
                  <a:pt x="182" y="19"/>
                  <a:pt x="181" y="19"/>
                  <a:pt x="181" y="19"/>
                </a:cubicBezTo>
                <a:cubicBezTo>
                  <a:pt x="180" y="19"/>
                  <a:pt x="180" y="20"/>
                  <a:pt x="179" y="20"/>
                </a:cubicBezTo>
                <a:cubicBezTo>
                  <a:pt x="178" y="22"/>
                  <a:pt x="176" y="24"/>
                  <a:pt x="175" y="26"/>
                </a:cubicBezTo>
                <a:cubicBezTo>
                  <a:pt x="161" y="54"/>
                  <a:pt x="148" y="83"/>
                  <a:pt x="146" y="114"/>
                </a:cubicBezTo>
                <a:cubicBezTo>
                  <a:pt x="143" y="138"/>
                  <a:pt x="146" y="163"/>
                  <a:pt x="153" y="186"/>
                </a:cubicBezTo>
                <a:cubicBezTo>
                  <a:pt x="156" y="194"/>
                  <a:pt x="158" y="203"/>
                  <a:pt x="160" y="211"/>
                </a:cubicBezTo>
                <a:cubicBezTo>
                  <a:pt x="161" y="213"/>
                  <a:pt x="160" y="215"/>
                  <a:pt x="158" y="216"/>
                </a:cubicBezTo>
                <a:cubicBezTo>
                  <a:pt x="152" y="220"/>
                  <a:pt x="145" y="225"/>
                  <a:pt x="138" y="229"/>
                </a:cubicBezTo>
                <a:cubicBezTo>
                  <a:pt x="137" y="229"/>
                  <a:pt x="137" y="230"/>
                  <a:pt x="136" y="230"/>
                </a:cubicBezTo>
                <a:cubicBezTo>
                  <a:pt x="135" y="230"/>
                  <a:pt x="135" y="229"/>
                  <a:pt x="135" y="227"/>
                </a:cubicBezTo>
                <a:cubicBezTo>
                  <a:pt x="134" y="179"/>
                  <a:pt x="127" y="131"/>
                  <a:pt x="121" y="84"/>
                </a:cubicBezTo>
                <a:cubicBezTo>
                  <a:pt x="120" y="77"/>
                  <a:pt x="120" y="69"/>
                  <a:pt x="119" y="62"/>
                </a:cubicBezTo>
                <a:cubicBezTo>
                  <a:pt x="119" y="61"/>
                  <a:pt x="121" y="59"/>
                  <a:pt x="118" y="59"/>
                </a:cubicBezTo>
                <a:cubicBezTo>
                  <a:pt x="118" y="59"/>
                  <a:pt x="118" y="59"/>
                  <a:pt x="118" y="59"/>
                </a:cubicBezTo>
                <a:cubicBezTo>
                  <a:pt x="117" y="59"/>
                  <a:pt x="116" y="61"/>
                  <a:pt x="116" y="62"/>
                </a:cubicBezTo>
                <a:cubicBezTo>
                  <a:pt x="114" y="66"/>
                  <a:pt x="112" y="71"/>
                  <a:pt x="110" y="76"/>
                </a:cubicBezTo>
                <a:cubicBezTo>
                  <a:pt x="99" y="111"/>
                  <a:pt x="96" y="146"/>
                  <a:pt x="105" y="181"/>
                </a:cubicBezTo>
                <a:cubicBezTo>
                  <a:pt x="109" y="199"/>
                  <a:pt x="114" y="217"/>
                  <a:pt x="123" y="234"/>
                </a:cubicBezTo>
                <a:cubicBezTo>
                  <a:pt x="124" y="236"/>
                  <a:pt x="124" y="238"/>
                  <a:pt x="121" y="239"/>
                </a:cubicBezTo>
                <a:cubicBezTo>
                  <a:pt x="114" y="243"/>
                  <a:pt x="106" y="247"/>
                  <a:pt x="98" y="250"/>
                </a:cubicBezTo>
                <a:cubicBezTo>
                  <a:pt x="98" y="251"/>
                  <a:pt x="97" y="251"/>
                  <a:pt x="96" y="251"/>
                </a:cubicBezTo>
                <a:cubicBezTo>
                  <a:pt x="95" y="251"/>
                  <a:pt x="95" y="249"/>
                  <a:pt x="95" y="248"/>
                </a:cubicBezTo>
                <a:cubicBezTo>
                  <a:pt x="93" y="232"/>
                  <a:pt x="92" y="216"/>
                  <a:pt x="89" y="200"/>
                </a:cubicBezTo>
                <a:cubicBezTo>
                  <a:pt x="84" y="169"/>
                  <a:pt x="79" y="138"/>
                  <a:pt x="72" y="107"/>
                </a:cubicBezTo>
                <a:cubicBezTo>
                  <a:pt x="71" y="100"/>
                  <a:pt x="70" y="93"/>
                  <a:pt x="69" y="87"/>
                </a:cubicBezTo>
                <a:cubicBezTo>
                  <a:pt x="69" y="85"/>
                  <a:pt x="69" y="84"/>
                  <a:pt x="67" y="82"/>
                </a:cubicBezTo>
                <a:cubicBezTo>
                  <a:pt x="61" y="97"/>
                  <a:pt x="56" y="112"/>
                  <a:pt x="53" y="127"/>
                </a:cubicBezTo>
                <a:cubicBezTo>
                  <a:pt x="49" y="152"/>
                  <a:pt x="53" y="175"/>
                  <a:pt x="61" y="198"/>
                </a:cubicBezTo>
                <a:cubicBezTo>
                  <a:pt x="67" y="217"/>
                  <a:pt x="74" y="234"/>
                  <a:pt x="83" y="251"/>
                </a:cubicBezTo>
                <a:cubicBezTo>
                  <a:pt x="85" y="255"/>
                  <a:pt x="84" y="257"/>
                  <a:pt x="80" y="258"/>
                </a:cubicBezTo>
                <a:cubicBezTo>
                  <a:pt x="70" y="262"/>
                  <a:pt x="60" y="265"/>
                  <a:pt x="51" y="269"/>
                </a:cubicBezTo>
                <a:cubicBezTo>
                  <a:pt x="50" y="270"/>
                  <a:pt x="49" y="270"/>
                  <a:pt x="48" y="270"/>
                </a:cubicBezTo>
                <a:cubicBezTo>
                  <a:pt x="47" y="270"/>
                  <a:pt x="46" y="269"/>
                  <a:pt x="46" y="267"/>
                </a:cubicBezTo>
                <a:cubicBezTo>
                  <a:pt x="46" y="226"/>
                  <a:pt x="36" y="187"/>
                  <a:pt x="28" y="147"/>
                </a:cubicBezTo>
                <a:cubicBezTo>
                  <a:pt x="26" y="136"/>
                  <a:pt x="23" y="124"/>
                  <a:pt x="23" y="112"/>
                </a:cubicBezTo>
                <a:cubicBezTo>
                  <a:pt x="23" y="111"/>
                  <a:pt x="22" y="110"/>
                  <a:pt x="22" y="109"/>
                </a:cubicBezTo>
                <a:cubicBezTo>
                  <a:pt x="19" y="113"/>
                  <a:pt x="18" y="116"/>
                  <a:pt x="17" y="120"/>
                </a:cubicBezTo>
                <a:cubicBezTo>
                  <a:pt x="5" y="158"/>
                  <a:pt x="5" y="195"/>
                  <a:pt x="18" y="231"/>
                </a:cubicBezTo>
                <a:cubicBezTo>
                  <a:pt x="23" y="243"/>
                  <a:pt x="28" y="256"/>
                  <a:pt x="33" y="268"/>
                </a:cubicBezTo>
                <a:cubicBezTo>
                  <a:pt x="36" y="274"/>
                  <a:pt x="36" y="274"/>
                  <a:pt x="29" y="276"/>
                </a:cubicBezTo>
                <a:cubicBezTo>
                  <a:pt x="21" y="278"/>
                  <a:pt x="13" y="279"/>
                  <a:pt x="6" y="281"/>
                </a:cubicBezTo>
                <a:cubicBezTo>
                  <a:pt x="3" y="281"/>
                  <a:pt x="0" y="281"/>
                  <a:pt x="0" y="284"/>
                </a:cubicBezTo>
                <a:cubicBezTo>
                  <a:pt x="0" y="287"/>
                  <a:pt x="2" y="287"/>
                  <a:pt x="4" y="287"/>
                </a:cubicBezTo>
                <a:cubicBezTo>
                  <a:pt x="4" y="287"/>
                  <a:pt x="5" y="287"/>
                  <a:pt x="6" y="287"/>
                </a:cubicBezTo>
                <a:cubicBezTo>
                  <a:pt x="16" y="286"/>
                  <a:pt x="27" y="284"/>
                  <a:pt x="37" y="282"/>
                </a:cubicBezTo>
                <a:cubicBezTo>
                  <a:pt x="37" y="281"/>
                  <a:pt x="38" y="281"/>
                  <a:pt x="39" y="281"/>
                </a:cubicBezTo>
                <a:cubicBezTo>
                  <a:pt x="40" y="281"/>
                  <a:pt x="41" y="282"/>
                  <a:pt x="42" y="283"/>
                </a:cubicBezTo>
                <a:cubicBezTo>
                  <a:pt x="55" y="302"/>
                  <a:pt x="73" y="316"/>
                  <a:pt x="94" y="327"/>
                </a:cubicBezTo>
                <a:cubicBezTo>
                  <a:pt x="119" y="339"/>
                  <a:pt x="146" y="349"/>
                  <a:pt x="171" y="360"/>
                </a:cubicBezTo>
                <a:cubicBezTo>
                  <a:pt x="173" y="360"/>
                  <a:pt x="175" y="361"/>
                  <a:pt x="177" y="362"/>
                </a:cubicBezTo>
                <a:cubicBezTo>
                  <a:pt x="178" y="363"/>
                  <a:pt x="179" y="363"/>
                  <a:pt x="180" y="363"/>
                </a:cubicBezTo>
                <a:cubicBezTo>
                  <a:pt x="181" y="363"/>
                  <a:pt x="182" y="363"/>
                  <a:pt x="182" y="362"/>
                </a:cubicBezTo>
                <a:cubicBezTo>
                  <a:pt x="184" y="361"/>
                  <a:pt x="182" y="359"/>
                  <a:pt x="182" y="358"/>
                </a:cubicBezTo>
                <a:cubicBezTo>
                  <a:pt x="161" y="328"/>
                  <a:pt x="133" y="308"/>
                  <a:pt x="100" y="291"/>
                </a:cubicBezTo>
                <a:cubicBezTo>
                  <a:pt x="88" y="285"/>
                  <a:pt x="75" y="282"/>
                  <a:pt x="61" y="278"/>
                </a:cubicBezTo>
                <a:cubicBezTo>
                  <a:pt x="60" y="278"/>
                  <a:pt x="58" y="278"/>
                  <a:pt x="57" y="276"/>
                </a:cubicBezTo>
                <a:cubicBezTo>
                  <a:pt x="60" y="275"/>
                  <a:pt x="63" y="273"/>
                  <a:pt x="66" y="272"/>
                </a:cubicBezTo>
                <a:cubicBezTo>
                  <a:pt x="71" y="271"/>
                  <a:pt x="76" y="269"/>
                  <a:pt x="81" y="267"/>
                </a:cubicBezTo>
                <a:cubicBezTo>
                  <a:pt x="84" y="265"/>
                  <a:pt x="86" y="264"/>
                  <a:pt x="88" y="264"/>
                </a:cubicBezTo>
                <a:cubicBezTo>
                  <a:pt x="90" y="264"/>
                  <a:pt x="91" y="266"/>
                  <a:pt x="95" y="269"/>
                </a:cubicBezTo>
                <a:cubicBezTo>
                  <a:pt x="106" y="281"/>
                  <a:pt x="121" y="289"/>
                  <a:pt x="136" y="296"/>
                </a:cubicBezTo>
                <a:cubicBezTo>
                  <a:pt x="166" y="309"/>
                  <a:pt x="199" y="315"/>
                  <a:pt x="232" y="323"/>
                </a:cubicBezTo>
                <a:cubicBezTo>
                  <a:pt x="237" y="324"/>
                  <a:pt x="242" y="325"/>
                  <a:pt x="246" y="326"/>
                </a:cubicBezTo>
                <a:cubicBezTo>
                  <a:pt x="247" y="326"/>
                  <a:pt x="248" y="326"/>
                  <a:pt x="249" y="326"/>
                </a:cubicBezTo>
                <a:cubicBezTo>
                  <a:pt x="250" y="326"/>
                  <a:pt x="250" y="326"/>
                  <a:pt x="251" y="326"/>
                </a:cubicBezTo>
                <a:cubicBezTo>
                  <a:pt x="252" y="324"/>
                  <a:pt x="250" y="323"/>
                  <a:pt x="249" y="322"/>
                </a:cubicBezTo>
                <a:cubicBezTo>
                  <a:pt x="242" y="315"/>
                  <a:pt x="233" y="310"/>
                  <a:pt x="225" y="305"/>
                </a:cubicBezTo>
                <a:cubicBezTo>
                  <a:pt x="203" y="291"/>
                  <a:pt x="181" y="277"/>
                  <a:pt x="154" y="270"/>
                </a:cubicBezTo>
                <a:cubicBezTo>
                  <a:pt x="137" y="265"/>
                  <a:pt x="121" y="260"/>
                  <a:pt x="103" y="258"/>
                </a:cubicBezTo>
                <a:cubicBezTo>
                  <a:pt x="112" y="253"/>
                  <a:pt x="120" y="248"/>
                  <a:pt x="129" y="244"/>
                </a:cubicBezTo>
                <a:cubicBezTo>
                  <a:pt x="130" y="244"/>
                  <a:pt x="130" y="243"/>
                  <a:pt x="131" y="243"/>
                </a:cubicBezTo>
                <a:cubicBezTo>
                  <a:pt x="131" y="243"/>
                  <a:pt x="132" y="244"/>
                  <a:pt x="133" y="245"/>
                </a:cubicBezTo>
                <a:cubicBezTo>
                  <a:pt x="150" y="264"/>
                  <a:pt x="175" y="271"/>
                  <a:pt x="200" y="277"/>
                </a:cubicBezTo>
                <a:cubicBezTo>
                  <a:pt x="232" y="285"/>
                  <a:pt x="265" y="289"/>
                  <a:pt x="296" y="295"/>
                </a:cubicBezTo>
                <a:cubicBezTo>
                  <a:pt x="300" y="296"/>
                  <a:pt x="303" y="297"/>
                  <a:pt x="306" y="298"/>
                </a:cubicBezTo>
                <a:cubicBezTo>
                  <a:pt x="306" y="298"/>
                  <a:pt x="307" y="298"/>
                  <a:pt x="307" y="298"/>
                </a:cubicBezTo>
                <a:cubicBezTo>
                  <a:pt x="308" y="298"/>
                  <a:pt x="309" y="298"/>
                  <a:pt x="309" y="297"/>
                </a:cubicBezTo>
                <a:cubicBezTo>
                  <a:pt x="310" y="296"/>
                  <a:pt x="309" y="295"/>
                  <a:pt x="308" y="294"/>
                </a:cubicBezTo>
                <a:cubicBezTo>
                  <a:pt x="302" y="291"/>
                  <a:pt x="297" y="288"/>
                  <a:pt x="292" y="284"/>
                </a:cubicBezTo>
                <a:cubicBezTo>
                  <a:pt x="271" y="271"/>
                  <a:pt x="250" y="259"/>
                  <a:pt x="226" y="251"/>
                </a:cubicBezTo>
                <a:cubicBezTo>
                  <a:pt x="200" y="243"/>
                  <a:pt x="174" y="238"/>
                  <a:pt x="147" y="236"/>
                </a:cubicBezTo>
                <a:cubicBezTo>
                  <a:pt x="146" y="236"/>
                  <a:pt x="146" y="236"/>
                  <a:pt x="144" y="235"/>
                </a:cubicBezTo>
                <a:cubicBezTo>
                  <a:pt x="152" y="230"/>
                  <a:pt x="158" y="225"/>
                  <a:pt x="167" y="221"/>
                </a:cubicBezTo>
                <a:cubicBezTo>
                  <a:pt x="167" y="221"/>
                  <a:pt x="168" y="221"/>
                  <a:pt x="169" y="221"/>
                </a:cubicBezTo>
                <a:cubicBezTo>
                  <a:pt x="169" y="221"/>
                  <a:pt x="170" y="221"/>
                  <a:pt x="170" y="221"/>
                </a:cubicBezTo>
                <a:cubicBezTo>
                  <a:pt x="179" y="231"/>
                  <a:pt x="192" y="233"/>
                  <a:pt x="204" y="237"/>
                </a:cubicBezTo>
                <a:cubicBezTo>
                  <a:pt x="229" y="245"/>
                  <a:pt x="255" y="247"/>
                  <a:pt x="280" y="251"/>
                </a:cubicBezTo>
                <a:cubicBezTo>
                  <a:pt x="296" y="254"/>
                  <a:pt x="312" y="254"/>
                  <a:pt x="327" y="258"/>
                </a:cubicBezTo>
                <a:cubicBezTo>
                  <a:pt x="331" y="259"/>
                  <a:pt x="334" y="259"/>
                  <a:pt x="338" y="260"/>
                </a:cubicBezTo>
                <a:cubicBezTo>
                  <a:pt x="339" y="260"/>
                  <a:pt x="339" y="260"/>
                  <a:pt x="339" y="260"/>
                </a:cubicBezTo>
                <a:cubicBezTo>
                  <a:pt x="340" y="260"/>
                  <a:pt x="341" y="260"/>
                  <a:pt x="342" y="259"/>
                </a:cubicBezTo>
                <a:cubicBezTo>
                  <a:pt x="343" y="258"/>
                  <a:pt x="341" y="257"/>
                  <a:pt x="340" y="257"/>
                </a:cubicBezTo>
                <a:cubicBezTo>
                  <a:pt x="312" y="243"/>
                  <a:pt x="286" y="226"/>
                  <a:pt x="254" y="220"/>
                </a:cubicBezTo>
                <a:cubicBezTo>
                  <a:pt x="234" y="217"/>
                  <a:pt x="214" y="211"/>
                  <a:pt x="192" y="211"/>
                </a:cubicBezTo>
                <a:cubicBezTo>
                  <a:pt x="188" y="211"/>
                  <a:pt x="184" y="211"/>
                  <a:pt x="180" y="212"/>
                </a:cubicBezTo>
                <a:cubicBezTo>
                  <a:pt x="184" y="208"/>
                  <a:pt x="187" y="207"/>
                  <a:pt x="190" y="204"/>
                </a:cubicBezTo>
                <a:cubicBezTo>
                  <a:pt x="193" y="202"/>
                  <a:pt x="197" y="200"/>
                  <a:pt x="199" y="197"/>
                </a:cubicBezTo>
                <a:cubicBezTo>
                  <a:pt x="202" y="195"/>
                  <a:pt x="205" y="194"/>
                  <a:pt x="207" y="194"/>
                </a:cubicBezTo>
                <a:cubicBezTo>
                  <a:pt x="209" y="194"/>
                  <a:pt x="211" y="194"/>
                  <a:pt x="214" y="195"/>
                </a:cubicBezTo>
                <a:cubicBezTo>
                  <a:pt x="237" y="204"/>
                  <a:pt x="262" y="208"/>
                  <a:pt x="287" y="208"/>
                </a:cubicBezTo>
                <a:cubicBezTo>
                  <a:pt x="307" y="208"/>
                  <a:pt x="326" y="209"/>
                  <a:pt x="346" y="209"/>
                </a:cubicBezTo>
                <a:cubicBezTo>
                  <a:pt x="348" y="209"/>
                  <a:pt x="351" y="209"/>
                  <a:pt x="353" y="209"/>
                </a:cubicBezTo>
                <a:cubicBezTo>
                  <a:pt x="354" y="209"/>
                  <a:pt x="354" y="209"/>
                  <a:pt x="355" y="209"/>
                </a:cubicBezTo>
                <a:cubicBezTo>
                  <a:pt x="368" y="209"/>
                  <a:pt x="382" y="212"/>
                  <a:pt x="396" y="212"/>
                </a:cubicBezTo>
                <a:cubicBezTo>
                  <a:pt x="396" y="212"/>
                  <a:pt x="398" y="213"/>
                  <a:pt x="399" y="213"/>
                </a:cubicBezTo>
                <a:cubicBezTo>
                  <a:pt x="399" y="213"/>
                  <a:pt x="400" y="212"/>
                  <a:pt x="400" y="211"/>
                </a:cubicBezTo>
                <a:cubicBezTo>
                  <a:pt x="401" y="209"/>
                  <a:pt x="398" y="209"/>
                  <a:pt x="397" y="208"/>
                </a:cubicBezTo>
                <a:cubicBezTo>
                  <a:pt x="353" y="190"/>
                  <a:pt x="307" y="180"/>
                  <a:pt x="259" y="180"/>
                </a:cubicBezTo>
                <a:cubicBezTo>
                  <a:pt x="247" y="180"/>
                  <a:pt x="236" y="181"/>
                  <a:pt x="224" y="182"/>
                </a:cubicBezTo>
                <a:cubicBezTo>
                  <a:pt x="223" y="182"/>
                  <a:pt x="222" y="182"/>
                  <a:pt x="220" y="182"/>
                </a:cubicBezTo>
                <a:cubicBezTo>
                  <a:pt x="227" y="176"/>
                  <a:pt x="234" y="172"/>
                  <a:pt x="240" y="167"/>
                </a:cubicBezTo>
                <a:cubicBezTo>
                  <a:pt x="240" y="167"/>
                  <a:pt x="240" y="166"/>
                  <a:pt x="241" y="166"/>
                </a:cubicBezTo>
                <a:cubicBezTo>
                  <a:pt x="241" y="166"/>
                  <a:pt x="242" y="167"/>
                  <a:pt x="242" y="167"/>
                </a:cubicBezTo>
                <a:cubicBezTo>
                  <a:pt x="261" y="172"/>
                  <a:pt x="280" y="174"/>
                  <a:pt x="299" y="174"/>
                </a:cubicBezTo>
                <a:cubicBezTo>
                  <a:pt x="323" y="174"/>
                  <a:pt x="348" y="171"/>
                  <a:pt x="372" y="169"/>
                </a:cubicBezTo>
                <a:cubicBezTo>
                  <a:pt x="400" y="166"/>
                  <a:pt x="428" y="164"/>
                  <a:pt x="455" y="162"/>
                </a:cubicBezTo>
                <a:cubicBezTo>
                  <a:pt x="455" y="162"/>
                  <a:pt x="456" y="162"/>
                  <a:pt x="456" y="162"/>
                </a:cubicBezTo>
                <a:cubicBezTo>
                  <a:pt x="456" y="162"/>
                  <a:pt x="456" y="162"/>
                  <a:pt x="456" y="162"/>
                </a:cubicBezTo>
                <a:cubicBezTo>
                  <a:pt x="456" y="162"/>
                  <a:pt x="457" y="162"/>
                  <a:pt x="457" y="162"/>
                </a:cubicBezTo>
                <a:cubicBezTo>
                  <a:pt x="458" y="162"/>
                  <a:pt x="459" y="162"/>
                  <a:pt x="460" y="161"/>
                </a:cubicBezTo>
                <a:cubicBezTo>
                  <a:pt x="460" y="159"/>
                  <a:pt x="458" y="158"/>
                  <a:pt x="456" y="158"/>
                </a:cubicBezTo>
                <a:cubicBezTo>
                  <a:pt x="419" y="152"/>
                  <a:pt x="382" y="143"/>
                  <a:pt x="344" y="143"/>
                </a:cubicBezTo>
                <a:cubicBezTo>
                  <a:pt x="339" y="143"/>
                  <a:pt x="334" y="143"/>
                  <a:pt x="328" y="143"/>
                </a:cubicBezTo>
                <a:cubicBezTo>
                  <a:pt x="315" y="144"/>
                  <a:pt x="302" y="146"/>
                  <a:pt x="289" y="148"/>
                </a:cubicBezTo>
                <a:cubicBezTo>
                  <a:pt x="277" y="150"/>
                  <a:pt x="264" y="153"/>
                  <a:pt x="252" y="158"/>
                </a:cubicBezTo>
                <a:cubicBezTo>
                  <a:pt x="264" y="148"/>
                  <a:pt x="275" y="136"/>
                  <a:pt x="291" y="133"/>
                </a:cubicBezTo>
                <a:cubicBezTo>
                  <a:pt x="311" y="129"/>
                  <a:pt x="331" y="126"/>
                  <a:pt x="351" y="123"/>
                </a:cubicBezTo>
                <a:cubicBezTo>
                  <a:pt x="382" y="118"/>
                  <a:pt x="412" y="110"/>
                  <a:pt x="442" y="102"/>
                </a:cubicBezTo>
                <a:cubicBezTo>
                  <a:pt x="463" y="97"/>
                  <a:pt x="483" y="92"/>
                  <a:pt x="504" y="90"/>
                </a:cubicBezTo>
                <a:cubicBezTo>
                  <a:pt x="504" y="90"/>
                  <a:pt x="505" y="90"/>
                  <a:pt x="506" y="90"/>
                </a:cubicBezTo>
                <a:cubicBezTo>
                  <a:pt x="506" y="90"/>
                  <a:pt x="507" y="90"/>
                  <a:pt x="508" y="90"/>
                </a:cubicBezTo>
                <a:cubicBezTo>
                  <a:pt x="509" y="90"/>
                  <a:pt x="510" y="90"/>
                  <a:pt x="511" y="90"/>
                </a:cubicBezTo>
                <a:cubicBezTo>
                  <a:pt x="512" y="90"/>
                  <a:pt x="514" y="90"/>
                  <a:pt x="517" y="89"/>
                </a:cubicBezTo>
                <a:cubicBezTo>
                  <a:pt x="507" y="83"/>
                  <a:pt x="496" y="80"/>
                  <a:pt x="485" y="79"/>
                </a:cubicBezTo>
                <a:cubicBezTo>
                  <a:pt x="476" y="78"/>
                  <a:pt x="466" y="77"/>
                  <a:pt x="457" y="77"/>
                </a:cubicBezTo>
                <a:cubicBezTo>
                  <a:pt x="433" y="77"/>
                  <a:pt x="409" y="80"/>
                  <a:pt x="385" y="87"/>
                </a:cubicBezTo>
                <a:cubicBezTo>
                  <a:pt x="376" y="89"/>
                  <a:pt x="367" y="92"/>
                  <a:pt x="359" y="95"/>
                </a:cubicBezTo>
                <a:cubicBezTo>
                  <a:pt x="335" y="105"/>
                  <a:pt x="311" y="113"/>
                  <a:pt x="288" y="125"/>
                </a:cubicBezTo>
                <a:cubicBezTo>
                  <a:pt x="280" y="129"/>
                  <a:pt x="273" y="134"/>
                  <a:pt x="265" y="138"/>
                </a:cubicBezTo>
                <a:cubicBezTo>
                  <a:pt x="271" y="132"/>
                  <a:pt x="276" y="125"/>
                  <a:pt x="282" y="119"/>
                </a:cubicBezTo>
                <a:cubicBezTo>
                  <a:pt x="307" y="93"/>
                  <a:pt x="328" y="64"/>
                  <a:pt x="346" y="34"/>
                </a:cubicBezTo>
                <a:cubicBezTo>
                  <a:pt x="353" y="22"/>
                  <a:pt x="360" y="11"/>
                  <a:pt x="371" y="2"/>
                </a:cubicBezTo>
                <a:cubicBezTo>
                  <a:pt x="372" y="2"/>
                  <a:pt x="372" y="1"/>
                  <a:pt x="372" y="0"/>
                </a:cubicBezTo>
              </a:path>
            </a:pathLst>
          </a:custGeom>
          <a:gradFill flip="none" rotWithShape="1">
            <a:gsLst>
              <a:gs pos="15000">
                <a:schemeClr val="accent1">
                  <a:lumMod val="40000"/>
                  <a:lumOff val="60000"/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38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25" name="任意多边形: 形状 24"/>
          <p:cNvSpPr>
            <a:spLocks noEditPoints="1"/>
          </p:cNvSpPr>
          <p:nvPr/>
        </p:nvSpPr>
        <p:spPr bwMode="auto">
          <a:xfrm>
            <a:off x="3760777" y="5485259"/>
            <a:ext cx="750013" cy="1101853"/>
          </a:xfrm>
          <a:custGeom>
            <a:avLst/>
            <a:gdLst>
              <a:gd name="T0" fmla="*/ 119 w 434"/>
              <a:gd name="T1" fmla="*/ 521 h 639"/>
              <a:gd name="T2" fmla="*/ 224 w 434"/>
              <a:gd name="T3" fmla="*/ 492 h 639"/>
              <a:gd name="T4" fmla="*/ 246 w 434"/>
              <a:gd name="T5" fmla="*/ 497 h 639"/>
              <a:gd name="T6" fmla="*/ 113 w 434"/>
              <a:gd name="T7" fmla="*/ 515 h 639"/>
              <a:gd name="T8" fmla="*/ 229 w 434"/>
              <a:gd name="T9" fmla="*/ 472 h 639"/>
              <a:gd name="T10" fmla="*/ 240 w 434"/>
              <a:gd name="T11" fmla="*/ 481 h 639"/>
              <a:gd name="T12" fmla="*/ 203 w 434"/>
              <a:gd name="T13" fmla="*/ 420 h 639"/>
              <a:gd name="T14" fmla="*/ 203 w 434"/>
              <a:gd name="T15" fmla="*/ 420 h 639"/>
              <a:gd name="T16" fmla="*/ 332 w 434"/>
              <a:gd name="T17" fmla="*/ 368 h 639"/>
              <a:gd name="T18" fmla="*/ 109 w 434"/>
              <a:gd name="T19" fmla="*/ 352 h 639"/>
              <a:gd name="T20" fmla="*/ 140 w 434"/>
              <a:gd name="T21" fmla="*/ 455 h 639"/>
              <a:gd name="T22" fmla="*/ 121 w 434"/>
              <a:gd name="T23" fmla="*/ 315 h 639"/>
              <a:gd name="T24" fmla="*/ 140 w 434"/>
              <a:gd name="T25" fmla="*/ 457 h 639"/>
              <a:gd name="T26" fmla="*/ 341 w 434"/>
              <a:gd name="T27" fmla="*/ 277 h 639"/>
              <a:gd name="T28" fmla="*/ 281 w 434"/>
              <a:gd name="T29" fmla="*/ 321 h 639"/>
              <a:gd name="T30" fmla="*/ 375 w 434"/>
              <a:gd name="T31" fmla="*/ 261 h 639"/>
              <a:gd name="T32" fmla="*/ 221 w 434"/>
              <a:gd name="T33" fmla="*/ 350 h 639"/>
              <a:gd name="T34" fmla="*/ 202 w 434"/>
              <a:gd name="T35" fmla="*/ 268 h 639"/>
              <a:gd name="T36" fmla="*/ 215 w 434"/>
              <a:gd name="T37" fmla="*/ 356 h 639"/>
              <a:gd name="T38" fmla="*/ 184 w 434"/>
              <a:gd name="T39" fmla="*/ 226 h 639"/>
              <a:gd name="T40" fmla="*/ 215 w 434"/>
              <a:gd name="T41" fmla="*/ 356 h 639"/>
              <a:gd name="T42" fmla="*/ 369 w 434"/>
              <a:gd name="T43" fmla="*/ 170 h 639"/>
              <a:gd name="T44" fmla="*/ 419 w 434"/>
              <a:gd name="T45" fmla="*/ 159 h 639"/>
              <a:gd name="T46" fmla="*/ 321 w 434"/>
              <a:gd name="T47" fmla="*/ 201 h 639"/>
              <a:gd name="T48" fmla="*/ 406 w 434"/>
              <a:gd name="T49" fmla="*/ 142 h 639"/>
              <a:gd name="T50" fmla="*/ 245 w 434"/>
              <a:gd name="T51" fmla="*/ 138 h 639"/>
              <a:gd name="T52" fmla="*/ 228 w 434"/>
              <a:gd name="T53" fmla="*/ 143 h 639"/>
              <a:gd name="T54" fmla="*/ 276 w 434"/>
              <a:gd name="T55" fmla="*/ 234 h 639"/>
              <a:gd name="T56" fmla="*/ 339 w 434"/>
              <a:gd name="T57" fmla="*/ 12 h 639"/>
              <a:gd name="T58" fmla="*/ 335 w 434"/>
              <a:gd name="T59" fmla="*/ 110 h 639"/>
              <a:gd name="T60" fmla="*/ 323 w 434"/>
              <a:gd name="T61" fmla="*/ 166 h 639"/>
              <a:gd name="T62" fmla="*/ 314 w 434"/>
              <a:gd name="T63" fmla="*/ 166 h 639"/>
              <a:gd name="T64" fmla="*/ 286 w 434"/>
              <a:gd name="T65" fmla="*/ 232 h 639"/>
              <a:gd name="T66" fmla="*/ 228 w 434"/>
              <a:gd name="T67" fmla="*/ 114 h 639"/>
              <a:gd name="T68" fmla="*/ 259 w 434"/>
              <a:gd name="T69" fmla="*/ 228 h 639"/>
              <a:gd name="T70" fmla="*/ 231 w 434"/>
              <a:gd name="T71" fmla="*/ 353 h 639"/>
              <a:gd name="T72" fmla="*/ 210 w 434"/>
              <a:gd name="T73" fmla="*/ 250 h 639"/>
              <a:gd name="T74" fmla="*/ 181 w 434"/>
              <a:gd name="T75" fmla="*/ 221 h 639"/>
              <a:gd name="T76" fmla="*/ 216 w 434"/>
              <a:gd name="T77" fmla="*/ 366 h 639"/>
              <a:gd name="T78" fmla="*/ 139 w 434"/>
              <a:gd name="T79" fmla="*/ 468 h 639"/>
              <a:gd name="T80" fmla="*/ 123 w 434"/>
              <a:gd name="T81" fmla="*/ 309 h 639"/>
              <a:gd name="T82" fmla="*/ 112 w 434"/>
              <a:gd name="T83" fmla="*/ 302 h 639"/>
              <a:gd name="T84" fmla="*/ 127 w 434"/>
              <a:gd name="T85" fmla="*/ 457 h 639"/>
              <a:gd name="T86" fmla="*/ 2 w 434"/>
              <a:gd name="T87" fmla="*/ 632 h 639"/>
              <a:gd name="T88" fmla="*/ 28 w 434"/>
              <a:gd name="T89" fmla="*/ 603 h 639"/>
              <a:gd name="T90" fmla="*/ 143 w 434"/>
              <a:gd name="T91" fmla="*/ 542 h 639"/>
              <a:gd name="T92" fmla="*/ 274 w 434"/>
              <a:gd name="T93" fmla="*/ 472 h 639"/>
              <a:gd name="T94" fmla="*/ 265 w 434"/>
              <a:gd name="T95" fmla="*/ 468 h 639"/>
              <a:gd name="T96" fmla="*/ 119 w 434"/>
              <a:gd name="T97" fmla="*/ 503 h 639"/>
              <a:gd name="T98" fmla="*/ 202 w 434"/>
              <a:gd name="T99" fmla="*/ 423 h 639"/>
              <a:gd name="T100" fmla="*/ 361 w 434"/>
              <a:gd name="T101" fmla="*/ 363 h 639"/>
              <a:gd name="T102" fmla="*/ 306 w 434"/>
              <a:gd name="T103" fmla="*/ 363 h 639"/>
              <a:gd name="T104" fmla="*/ 204 w 434"/>
              <a:gd name="T105" fmla="*/ 407 h 639"/>
              <a:gd name="T106" fmla="*/ 265 w 434"/>
              <a:gd name="T107" fmla="*/ 324 h 639"/>
              <a:gd name="T108" fmla="*/ 380 w 434"/>
              <a:gd name="T109" fmla="*/ 288 h 639"/>
              <a:gd name="T110" fmla="*/ 377 w 434"/>
              <a:gd name="T111" fmla="*/ 257 h 639"/>
              <a:gd name="T112" fmla="*/ 272 w 434"/>
              <a:gd name="T113" fmla="*/ 303 h 639"/>
              <a:gd name="T114" fmla="*/ 322 w 434"/>
              <a:gd name="T115" fmla="*/ 218 h 639"/>
              <a:gd name="T116" fmla="*/ 430 w 434"/>
              <a:gd name="T117" fmla="*/ 139 h 639"/>
              <a:gd name="T118" fmla="*/ 337 w 434"/>
              <a:gd name="T119" fmla="*/ 173 h 639"/>
              <a:gd name="T120" fmla="*/ 312 w 434"/>
              <a:gd name="T121" fmla="*/ 203 h 639"/>
              <a:gd name="T122" fmla="*/ 357 w 434"/>
              <a:gd name="T123" fmla="*/ 72 h 639"/>
              <a:gd name="T124" fmla="*/ 343 w 434"/>
              <a:gd name="T125" fmla="*/ 0 h 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4" h="639">
                <a:moveTo>
                  <a:pt x="148" y="537"/>
                </a:moveTo>
                <a:cubicBezTo>
                  <a:pt x="130" y="537"/>
                  <a:pt x="112" y="535"/>
                  <a:pt x="94" y="533"/>
                </a:cubicBezTo>
                <a:cubicBezTo>
                  <a:pt x="94" y="533"/>
                  <a:pt x="94" y="533"/>
                  <a:pt x="93" y="532"/>
                </a:cubicBezTo>
                <a:cubicBezTo>
                  <a:pt x="101" y="528"/>
                  <a:pt x="110" y="524"/>
                  <a:pt x="119" y="521"/>
                </a:cubicBezTo>
                <a:cubicBezTo>
                  <a:pt x="133" y="516"/>
                  <a:pt x="149" y="512"/>
                  <a:pt x="164" y="509"/>
                </a:cubicBezTo>
                <a:cubicBezTo>
                  <a:pt x="175" y="506"/>
                  <a:pt x="186" y="504"/>
                  <a:pt x="196" y="500"/>
                </a:cubicBezTo>
                <a:cubicBezTo>
                  <a:pt x="201" y="497"/>
                  <a:pt x="206" y="496"/>
                  <a:pt x="211" y="496"/>
                </a:cubicBezTo>
                <a:cubicBezTo>
                  <a:pt x="215" y="495"/>
                  <a:pt x="220" y="494"/>
                  <a:pt x="224" y="492"/>
                </a:cubicBezTo>
                <a:cubicBezTo>
                  <a:pt x="236" y="488"/>
                  <a:pt x="247" y="482"/>
                  <a:pt x="259" y="477"/>
                </a:cubicBezTo>
                <a:cubicBezTo>
                  <a:pt x="262" y="476"/>
                  <a:pt x="264" y="474"/>
                  <a:pt x="268" y="473"/>
                </a:cubicBezTo>
                <a:cubicBezTo>
                  <a:pt x="268" y="475"/>
                  <a:pt x="267" y="475"/>
                  <a:pt x="267" y="476"/>
                </a:cubicBezTo>
                <a:cubicBezTo>
                  <a:pt x="260" y="483"/>
                  <a:pt x="253" y="490"/>
                  <a:pt x="246" y="497"/>
                </a:cubicBezTo>
                <a:cubicBezTo>
                  <a:pt x="221" y="523"/>
                  <a:pt x="190" y="537"/>
                  <a:pt x="152" y="537"/>
                </a:cubicBezTo>
                <a:cubicBezTo>
                  <a:pt x="151" y="537"/>
                  <a:pt x="149" y="537"/>
                  <a:pt x="148" y="537"/>
                </a:cubicBezTo>
                <a:moveTo>
                  <a:pt x="114" y="516"/>
                </a:moveTo>
                <a:cubicBezTo>
                  <a:pt x="113" y="516"/>
                  <a:pt x="113" y="516"/>
                  <a:pt x="113" y="515"/>
                </a:cubicBezTo>
                <a:cubicBezTo>
                  <a:pt x="130" y="501"/>
                  <a:pt x="147" y="487"/>
                  <a:pt x="168" y="479"/>
                </a:cubicBezTo>
                <a:cubicBezTo>
                  <a:pt x="180" y="475"/>
                  <a:pt x="191" y="471"/>
                  <a:pt x="204" y="471"/>
                </a:cubicBezTo>
                <a:cubicBezTo>
                  <a:pt x="206" y="471"/>
                  <a:pt x="208" y="471"/>
                  <a:pt x="210" y="471"/>
                </a:cubicBezTo>
                <a:cubicBezTo>
                  <a:pt x="216" y="472"/>
                  <a:pt x="223" y="472"/>
                  <a:pt x="229" y="472"/>
                </a:cubicBezTo>
                <a:cubicBezTo>
                  <a:pt x="233" y="472"/>
                  <a:pt x="238" y="472"/>
                  <a:pt x="242" y="472"/>
                </a:cubicBezTo>
                <a:cubicBezTo>
                  <a:pt x="249" y="472"/>
                  <a:pt x="255" y="471"/>
                  <a:pt x="262" y="471"/>
                </a:cubicBezTo>
                <a:cubicBezTo>
                  <a:pt x="262" y="472"/>
                  <a:pt x="261" y="472"/>
                  <a:pt x="260" y="473"/>
                </a:cubicBezTo>
                <a:cubicBezTo>
                  <a:pt x="253" y="475"/>
                  <a:pt x="246" y="477"/>
                  <a:pt x="240" y="481"/>
                </a:cubicBezTo>
                <a:cubicBezTo>
                  <a:pt x="221" y="490"/>
                  <a:pt x="200" y="496"/>
                  <a:pt x="178" y="500"/>
                </a:cubicBezTo>
                <a:cubicBezTo>
                  <a:pt x="157" y="504"/>
                  <a:pt x="135" y="508"/>
                  <a:pt x="114" y="516"/>
                </a:cubicBezTo>
                <a:cubicBezTo>
                  <a:pt x="114" y="516"/>
                  <a:pt x="114" y="516"/>
                  <a:pt x="114" y="516"/>
                </a:cubicBezTo>
                <a:moveTo>
                  <a:pt x="203" y="420"/>
                </a:moveTo>
                <a:cubicBezTo>
                  <a:pt x="203" y="420"/>
                  <a:pt x="203" y="420"/>
                  <a:pt x="203" y="420"/>
                </a:cubicBezTo>
                <a:cubicBezTo>
                  <a:pt x="215" y="410"/>
                  <a:pt x="332" y="369"/>
                  <a:pt x="347" y="369"/>
                </a:cubicBezTo>
                <a:cubicBezTo>
                  <a:pt x="347" y="369"/>
                  <a:pt x="347" y="369"/>
                  <a:pt x="347" y="369"/>
                </a:cubicBezTo>
                <a:cubicBezTo>
                  <a:pt x="306" y="402"/>
                  <a:pt x="259" y="420"/>
                  <a:pt x="203" y="420"/>
                </a:cubicBezTo>
                <a:moveTo>
                  <a:pt x="215" y="405"/>
                </a:moveTo>
                <a:cubicBezTo>
                  <a:pt x="220" y="400"/>
                  <a:pt x="245" y="385"/>
                  <a:pt x="259" y="379"/>
                </a:cubicBezTo>
                <a:cubicBezTo>
                  <a:pt x="281" y="371"/>
                  <a:pt x="305" y="368"/>
                  <a:pt x="330" y="368"/>
                </a:cubicBezTo>
                <a:cubicBezTo>
                  <a:pt x="330" y="368"/>
                  <a:pt x="331" y="368"/>
                  <a:pt x="332" y="368"/>
                </a:cubicBezTo>
                <a:cubicBezTo>
                  <a:pt x="293" y="380"/>
                  <a:pt x="254" y="391"/>
                  <a:pt x="215" y="405"/>
                </a:cubicBezTo>
                <a:moveTo>
                  <a:pt x="132" y="460"/>
                </a:moveTo>
                <a:cubicBezTo>
                  <a:pt x="128" y="451"/>
                  <a:pt x="122" y="444"/>
                  <a:pt x="119" y="435"/>
                </a:cubicBezTo>
                <a:cubicBezTo>
                  <a:pt x="108" y="408"/>
                  <a:pt x="102" y="380"/>
                  <a:pt x="109" y="352"/>
                </a:cubicBezTo>
                <a:cubicBezTo>
                  <a:pt x="112" y="340"/>
                  <a:pt x="114" y="327"/>
                  <a:pt x="116" y="315"/>
                </a:cubicBezTo>
                <a:cubicBezTo>
                  <a:pt x="135" y="363"/>
                  <a:pt x="136" y="411"/>
                  <a:pt x="132" y="460"/>
                </a:cubicBezTo>
                <a:moveTo>
                  <a:pt x="140" y="457"/>
                </a:moveTo>
                <a:cubicBezTo>
                  <a:pt x="140" y="456"/>
                  <a:pt x="140" y="456"/>
                  <a:pt x="140" y="455"/>
                </a:cubicBezTo>
                <a:cubicBezTo>
                  <a:pt x="142" y="436"/>
                  <a:pt x="141" y="417"/>
                  <a:pt x="138" y="397"/>
                </a:cubicBezTo>
                <a:cubicBezTo>
                  <a:pt x="137" y="390"/>
                  <a:pt x="135" y="383"/>
                  <a:pt x="134" y="376"/>
                </a:cubicBezTo>
                <a:cubicBezTo>
                  <a:pt x="133" y="365"/>
                  <a:pt x="132" y="354"/>
                  <a:pt x="129" y="343"/>
                </a:cubicBezTo>
                <a:cubicBezTo>
                  <a:pt x="126" y="333"/>
                  <a:pt x="124" y="324"/>
                  <a:pt x="121" y="315"/>
                </a:cubicBezTo>
                <a:cubicBezTo>
                  <a:pt x="127" y="321"/>
                  <a:pt x="131" y="328"/>
                  <a:pt x="135" y="335"/>
                </a:cubicBezTo>
                <a:cubicBezTo>
                  <a:pt x="142" y="349"/>
                  <a:pt x="147" y="364"/>
                  <a:pt x="149" y="380"/>
                </a:cubicBezTo>
                <a:cubicBezTo>
                  <a:pt x="152" y="399"/>
                  <a:pt x="154" y="419"/>
                  <a:pt x="149" y="437"/>
                </a:cubicBezTo>
                <a:cubicBezTo>
                  <a:pt x="147" y="444"/>
                  <a:pt x="144" y="451"/>
                  <a:pt x="140" y="457"/>
                </a:cubicBezTo>
                <a:moveTo>
                  <a:pt x="281" y="321"/>
                </a:moveTo>
                <a:cubicBezTo>
                  <a:pt x="277" y="321"/>
                  <a:pt x="272" y="320"/>
                  <a:pt x="269" y="320"/>
                </a:cubicBezTo>
                <a:cubicBezTo>
                  <a:pt x="291" y="304"/>
                  <a:pt x="313" y="288"/>
                  <a:pt x="338" y="278"/>
                </a:cubicBezTo>
                <a:cubicBezTo>
                  <a:pt x="339" y="277"/>
                  <a:pt x="340" y="277"/>
                  <a:pt x="341" y="277"/>
                </a:cubicBezTo>
                <a:cubicBezTo>
                  <a:pt x="354" y="275"/>
                  <a:pt x="367" y="272"/>
                  <a:pt x="380" y="268"/>
                </a:cubicBezTo>
                <a:cubicBezTo>
                  <a:pt x="386" y="266"/>
                  <a:pt x="393" y="264"/>
                  <a:pt x="401" y="263"/>
                </a:cubicBezTo>
                <a:cubicBezTo>
                  <a:pt x="384" y="280"/>
                  <a:pt x="366" y="296"/>
                  <a:pt x="343" y="307"/>
                </a:cubicBezTo>
                <a:cubicBezTo>
                  <a:pt x="326" y="315"/>
                  <a:pt x="300" y="321"/>
                  <a:pt x="281" y="321"/>
                </a:cubicBezTo>
                <a:moveTo>
                  <a:pt x="283" y="301"/>
                </a:moveTo>
                <a:cubicBezTo>
                  <a:pt x="287" y="296"/>
                  <a:pt x="291" y="292"/>
                  <a:pt x="296" y="288"/>
                </a:cubicBezTo>
                <a:cubicBezTo>
                  <a:pt x="306" y="280"/>
                  <a:pt x="315" y="273"/>
                  <a:pt x="327" y="269"/>
                </a:cubicBezTo>
                <a:cubicBezTo>
                  <a:pt x="342" y="264"/>
                  <a:pt x="359" y="262"/>
                  <a:pt x="375" y="261"/>
                </a:cubicBezTo>
                <a:cubicBezTo>
                  <a:pt x="376" y="261"/>
                  <a:pt x="378" y="261"/>
                  <a:pt x="379" y="261"/>
                </a:cubicBezTo>
                <a:cubicBezTo>
                  <a:pt x="382" y="261"/>
                  <a:pt x="386" y="261"/>
                  <a:pt x="389" y="262"/>
                </a:cubicBezTo>
                <a:cubicBezTo>
                  <a:pt x="351" y="270"/>
                  <a:pt x="315" y="280"/>
                  <a:pt x="283" y="301"/>
                </a:cubicBezTo>
                <a:moveTo>
                  <a:pt x="221" y="350"/>
                </a:moveTo>
                <a:cubicBezTo>
                  <a:pt x="220" y="349"/>
                  <a:pt x="221" y="347"/>
                  <a:pt x="220" y="346"/>
                </a:cubicBezTo>
                <a:cubicBezTo>
                  <a:pt x="217" y="328"/>
                  <a:pt x="214" y="311"/>
                  <a:pt x="208" y="294"/>
                </a:cubicBezTo>
                <a:cubicBezTo>
                  <a:pt x="207" y="290"/>
                  <a:pt x="205" y="285"/>
                  <a:pt x="205" y="280"/>
                </a:cubicBezTo>
                <a:cubicBezTo>
                  <a:pt x="204" y="276"/>
                  <a:pt x="204" y="272"/>
                  <a:pt x="202" y="268"/>
                </a:cubicBezTo>
                <a:cubicBezTo>
                  <a:pt x="198" y="260"/>
                  <a:pt x="195" y="253"/>
                  <a:pt x="193" y="245"/>
                </a:cubicBezTo>
                <a:cubicBezTo>
                  <a:pt x="192" y="240"/>
                  <a:pt x="191" y="235"/>
                  <a:pt x="189" y="230"/>
                </a:cubicBezTo>
                <a:cubicBezTo>
                  <a:pt x="224" y="267"/>
                  <a:pt x="237" y="315"/>
                  <a:pt x="221" y="350"/>
                </a:cubicBezTo>
                <a:moveTo>
                  <a:pt x="215" y="356"/>
                </a:moveTo>
                <a:cubicBezTo>
                  <a:pt x="212" y="350"/>
                  <a:pt x="208" y="343"/>
                  <a:pt x="204" y="336"/>
                </a:cubicBezTo>
                <a:cubicBezTo>
                  <a:pt x="197" y="322"/>
                  <a:pt x="188" y="309"/>
                  <a:pt x="183" y="294"/>
                </a:cubicBezTo>
                <a:cubicBezTo>
                  <a:pt x="176" y="272"/>
                  <a:pt x="173" y="251"/>
                  <a:pt x="182" y="230"/>
                </a:cubicBezTo>
                <a:cubicBezTo>
                  <a:pt x="183" y="229"/>
                  <a:pt x="183" y="227"/>
                  <a:pt x="184" y="226"/>
                </a:cubicBezTo>
                <a:cubicBezTo>
                  <a:pt x="186" y="228"/>
                  <a:pt x="186" y="230"/>
                  <a:pt x="186" y="232"/>
                </a:cubicBezTo>
                <a:cubicBezTo>
                  <a:pt x="189" y="241"/>
                  <a:pt x="190" y="250"/>
                  <a:pt x="194" y="259"/>
                </a:cubicBezTo>
                <a:cubicBezTo>
                  <a:pt x="201" y="280"/>
                  <a:pt x="208" y="302"/>
                  <a:pt x="211" y="323"/>
                </a:cubicBezTo>
                <a:cubicBezTo>
                  <a:pt x="213" y="334"/>
                  <a:pt x="215" y="345"/>
                  <a:pt x="215" y="356"/>
                </a:cubicBezTo>
                <a:moveTo>
                  <a:pt x="318" y="214"/>
                </a:moveTo>
                <a:cubicBezTo>
                  <a:pt x="318" y="212"/>
                  <a:pt x="319" y="212"/>
                  <a:pt x="319" y="212"/>
                </a:cubicBezTo>
                <a:cubicBezTo>
                  <a:pt x="325" y="207"/>
                  <a:pt x="331" y="201"/>
                  <a:pt x="337" y="196"/>
                </a:cubicBezTo>
                <a:cubicBezTo>
                  <a:pt x="348" y="187"/>
                  <a:pt x="359" y="179"/>
                  <a:pt x="369" y="170"/>
                </a:cubicBezTo>
                <a:cubicBezTo>
                  <a:pt x="382" y="159"/>
                  <a:pt x="398" y="151"/>
                  <a:pt x="415" y="146"/>
                </a:cubicBezTo>
                <a:cubicBezTo>
                  <a:pt x="418" y="144"/>
                  <a:pt x="422" y="144"/>
                  <a:pt x="427" y="144"/>
                </a:cubicBezTo>
                <a:cubicBezTo>
                  <a:pt x="428" y="144"/>
                  <a:pt x="429" y="144"/>
                  <a:pt x="430" y="144"/>
                </a:cubicBezTo>
                <a:cubicBezTo>
                  <a:pt x="424" y="148"/>
                  <a:pt x="423" y="154"/>
                  <a:pt x="419" y="159"/>
                </a:cubicBezTo>
                <a:cubicBezTo>
                  <a:pt x="419" y="159"/>
                  <a:pt x="418" y="160"/>
                  <a:pt x="418" y="160"/>
                </a:cubicBezTo>
                <a:cubicBezTo>
                  <a:pt x="413" y="166"/>
                  <a:pt x="408" y="172"/>
                  <a:pt x="402" y="177"/>
                </a:cubicBezTo>
                <a:cubicBezTo>
                  <a:pt x="380" y="201"/>
                  <a:pt x="351" y="212"/>
                  <a:pt x="318" y="214"/>
                </a:cubicBezTo>
                <a:moveTo>
                  <a:pt x="321" y="201"/>
                </a:moveTo>
                <a:cubicBezTo>
                  <a:pt x="321" y="200"/>
                  <a:pt x="322" y="199"/>
                  <a:pt x="323" y="198"/>
                </a:cubicBezTo>
                <a:cubicBezTo>
                  <a:pt x="328" y="190"/>
                  <a:pt x="334" y="183"/>
                  <a:pt x="340" y="176"/>
                </a:cubicBezTo>
                <a:cubicBezTo>
                  <a:pt x="352" y="162"/>
                  <a:pt x="366" y="151"/>
                  <a:pt x="385" y="145"/>
                </a:cubicBezTo>
                <a:cubicBezTo>
                  <a:pt x="392" y="143"/>
                  <a:pt x="399" y="142"/>
                  <a:pt x="406" y="142"/>
                </a:cubicBezTo>
                <a:cubicBezTo>
                  <a:pt x="409" y="142"/>
                  <a:pt x="411" y="142"/>
                  <a:pt x="414" y="143"/>
                </a:cubicBezTo>
                <a:cubicBezTo>
                  <a:pt x="378" y="155"/>
                  <a:pt x="351" y="180"/>
                  <a:pt x="321" y="201"/>
                </a:cubicBezTo>
                <a:moveTo>
                  <a:pt x="281" y="234"/>
                </a:moveTo>
                <a:cubicBezTo>
                  <a:pt x="274" y="200"/>
                  <a:pt x="258" y="170"/>
                  <a:pt x="245" y="138"/>
                </a:cubicBezTo>
                <a:cubicBezTo>
                  <a:pt x="268" y="163"/>
                  <a:pt x="285" y="206"/>
                  <a:pt x="281" y="234"/>
                </a:cubicBezTo>
                <a:moveTo>
                  <a:pt x="278" y="244"/>
                </a:moveTo>
                <a:cubicBezTo>
                  <a:pt x="271" y="236"/>
                  <a:pt x="264" y="230"/>
                  <a:pt x="259" y="222"/>
                </a:cubicBezTo>
                <a:cubicBezTo>
                  <a:pt x="241" y="198"/>
                  <a:pt x="231" y="171"/>
                  <a:pt x="228" y="143"/>
                </a:cubicBezTo>
                <a:cubicBezTo>
                  <a:pt x="227" y="136"/>
                  <a:pt x="227" y="130"/>
                  <a:pt x="229" y="124"/>
                </a:cubicBezTo>
                <a:cubicBezTo>
                  <a:pt x="231" y="124"/>
                  <a:pt x="231" y="125"/>
                  <a:pt x="232" y="126"/>
                </a:cubicBezTo>
                <a:cubicBezTo>
                  <a:pt x="245" y="141"/>
                  <a:pt x="251" y="158"/>
                  <a:pt x="259" y="175"/>
                </a:cubicBezTo>
                <a:cubicBezTo>
                  <a:pt x="267" y="194"/>
                  <a:pt x="271" y="215"/>
                  <a:pt x="276" y="234"/>
                </a:cubicBezTo>
                <a:cubicBezTo>
                  <a:pt x="277" y="237"/>
                  <a:pt x="277" y="240"/>
                  <a:pt x="278" y="244"/>
                </a:cubicBezTo>
                <a:moveTo>
                  <a:pt x="316" y="163"/>
                </a:moveTo>
                <a:cubicBezTo>
                  <a:pt x="310" y="135"/>
                  <a:pt x="305" y="107"/>
                  <a:pt x="310" y="79"/>
                </a:cubicBezTo>
                <a:cubicBezTo>
                  <a:pt x="314" y="54"/>
                  <a:pt x="327" y="32"/>
                  <a:pt x="339" y="12"/>
                </a:cubicBezTo>
                <a:cubicBezTo>
                  <a:pt x="336" y="63"/>
                  <a:pt x="331" y="114"/>
                  <a:pt x="316" y="163"/>
                </a:cubicBezTo>
                <a:moveTo>
                  <a:pt x="323" y="166"/>
                </a:moveTo>
                <a:cubicBezTo>
                  <a:pt x="322" y="165"/>
                  <a:pt x="323" y="164"/>
                  <a:pt x="323" y="163"/>
                </a:cubicBezTo>
                <a:cubicBezTo>
                  <a:pt x="330" y="146"/>
                  <a:pt x="333" y="128"/>
                  <a:pt x="335" y="110"/>
                </a:cubicBezTo>
                <a:cubicBezTo>
                  <a:pt x="338" y="91"/>
                  <a:pt x="336" y="73"/>
                  <a:pt x="339" y="54"/>
                </a:cubicBezTo>
                <a:cubicBezTo>
                  <a:pt x="340" y="46"/>
                  <a:pt x="340" y="37"/>
                  <a:pt x="340" y="28"/>
                </a:cubicBezTo>
                <a:cubicBezTo>
                  <a:pt x="340" y="22"/>
                  <a:pt x="341" y="16"/>
                  <a:pt x="342" y="10"/>
                </a:cubicBezTo>
                <a:cubicBezTo>
                  <a:pt x="360" y="67"/>
                  <a:pt x="354" y="119"/>
                  <a:pt x="323" y="166"/>
                </a:cubicBezTo>
                <a:moveTo>
                  <a:pt x="343" y="0"/>
                </a:moveTo>
                <a:cubicBezTo>
                  <a:pt x="341" y="0"/>
                  <a:pt x="341" y="1"/>
                  <a:pt x="340" y="2"/>
                </a:cubicBezTo>
                <a:cubicBezTo>
                  <a:pt x="326" y="26"/>
                  <a:pt x="314" y="50"/>
                  <a:pt x="309" y="78"/>
                </a:cubicBezTo>
                <a:cubicBezTo>
                  <a:pt x="303" y="107"/>
                  <a:pt x="303" y="137"/>
                  <a:pt x="314" y="166"/>
                </a:cubicBezTo>
                <a:cubicBezTo>
                  <a:pt x="315" y="167"/>
                  <a:pt x="315" y="168"/>
                  <a:pt x="315" y="169"/>
                </a:cubicBezTo>
                <a:cubicBezTo>
                  <a:pt x="308" y="186"/>
                  <a:pt x="303" y="204"/>
                  <a:pt x="296" y="221"/>
                </a:cubicBezTo>
                <a:cubicBezTo>
                  <a:pt x="293" y="229"/>
                  <a:pt x="290" y="237"/>
                  <a:pt x="286" y="245"/>
                </a:cubicBezTo>
                <a:cubicBezTo>
                  <a:pt x="286" y="241"/>
                  <a:pt x="286" y="236"/>
                  <a:pt x="286" y="232"/>
                </a:cubicBezTo>
                <a:cubicBezTo>
                  <a:pt x="286" y="212"/>
                  <a:pt x="282" y="192"/>
                  <a:pt x="274" y="173"/>
                </a:cubicBezTo>
                <a:cubicBezTo>
                  <a:pt x="267" y="157"/>
                  <a:pt x="257" y="143"/>
                  <a:pt x="245" y="130"/>
                </a:cubicBezTo>
                <a:cubicBezTo>
                  <a:pt x="240" y="125"/>
                  <a:pt x="236" y="120"/>
                  <a:pt x="231" y="116"/>
                </a:cubicBezTo>
                <a:cubicBezTo>
                  <a:pt x="230" y="115"/>
                  <a:pt x="229" y="114"/>
                  <a:pt x="228" y="114"/>
                </a:cubicBezTo>
                <a:cubicBezTo>
                  <a:pt x="228" y="114"/>
                  <a:pt x="228" y="114"/>
                  <a:pt x="227" y="114"/>
                </a:cubicBezTo>
                <a:cubicBezTo>
                  <a:pt x="226" y="114"/>
                  <a:pt x="226" y="116"/>
                  <a:pt x="226" y="117"/>
                </a:cubicBezTo>
                <a:cubicBezTo>
                  <a:pt x="223" y="135"/>
                  <a:pt x="226" y="154"/>
                  <a:pt x="231" y="172"/>
                </a:cubicBezTo>
                <a:cubicBezTo>
                  <a:pt x="237" y="192"/>
                  <a:pt x="246" y="211"/>
                  <a:pt x="259" y="228"/>
                </a:cubicBezTo>
                <a:cubicBezTo>
                  <a:pt x="264" y="235"/>
                  <a:pt x="270" y="241"/>
                  <a:pt x="275" y="248"/>
                </a:cubicBezTo>
                <a:cubicBezTo>
                  <a:pt x="281" y="254"/>
                  <a:pt x="281" y="260"/>
                  <a:pt x="278" y="267"/>
                </a:cubicBezTo>
                <a:cubicBezTo>
                  <a:pt x="275" y="273"/>
                  <a:pt x="272" y="280"/>
                  <a:pt x="268" y="287"/>
                </a:cubicBezTo>
                <a:cubicBezTo>
                  <a:pt x="257" y="309"/>
                  <a:pt x="243" y="331"/>
                  <a:pt x="231" y="353"/>
                </a:cubicBezTo>
                <a:cubicBezTo>
                  <a:pt x="228" y="357"/>
                  <a:pt x="226" y="361"/>
                  <a:pt x="223" y="365"/>
                </a:cubicBezTo>
                <a:cubicBezTo>
                  <a:pt x="222" y="363"/>
                  <a:pt x="222" y="362"/>
                  <a:pt x="223" y="361"/>
                </a:cubicBezTo>
                <a:cubicBezTo>
                  <a:pt x="228" y="345"/>
                  <a:pt x="232" y="330"/>
                  <a:pt x="232" y="313"/>
                </a:cubicBezTo>
                <a:cubicBezTo>
                  <a:pt x="231" y="290"/>
                  <a:pt x="224" y="269"/>
                  <a:pt x="210" y="250"/>
                </a:cubicBezTo>
                <a:cubicBezTo>
                  <a:pt x="202" y="240"/>
                  <a:pt x="195" y="229"/>
                  <a:pt x="187" y="220"/>
                </a:cubicBezTo>
                <a:cubicBezTo>
                  <a:pt x="186" y="219"/>
                  <a:pt x="185" y="218"/>
                  <a:pt x="184" y="218"/>
                </a:cubicBezTo>
                <a:cubicBezTo>
                  <a:pt x="184" y="218"/>
                  <a:pt x="183" y="218"/>
                  <a:pt x="183" y="218"/>
                </a:cubicBezTo>
                <a:cubicBezTo>
                  <a:pt x="182" y="218"/>
                  <a:pt x="182" y="220"/>
                  <a:pt x="181" y="221"/>
                </a:cubicBezTo>
                <a:cubicBezTo>
                  <a:pt x="180" y="227"/>
                  <a:pt x="179" y="232"/>
                  <a:pt x="177" y="237"/>
                </a:cubicBezTo>
                <a:cubicBezTo>
                  <a:pt x="169" y="260"/>
                  <a:pt x="173" y="282"/>
                  <a:pt x="184" y="304"/>
                </a:cubicBezTo>
                <a:cubicBezTo>
                  <a:pt x="191" y="319"/>
                  <a:pt x="199" y="334"/>
                  <a:pt x="208" y="349"/>
                </a:cubicBezTo>
                <a:cubicBezTo>
                  <a:pt x="211" y="354"/>
                  <a:pt x="214" y="360"/>
                  <a:pt x="216" y="366"/>
                </a:cubicBezTo>
                <a:cubicBezTo>
                  <a:pt x="217" y="370"/>
                  <a:pt x="217" y="375"/>
                  <a:pt x="215" y="378"/>
                </a:cubicBezTo>
                <a:cubicBezTo>
                  <a:pt x="203" y="396"/>
                  <a:pt x="189" y="412"/>
                  <a:pt x="175" y="428"/>
                </a:cubicBezTo>
                <a:cubicBezTo>
                  <a:pt x="164" y="441"/>
                  <a:pt x="152" y="454"/>
                  <a:pt x="140" y="467"/>
                </a:cubicBezTo>
                <a:cubicBezTo>
                  <a:pt x="139" y="467"/>
                  <a:pt x="139" y="467"/>
                  <a:pt x="139" y="468"/>
                </a:cubicBezTo>
                <a:cubicBezTo>
                  <a:pt x="138" y="466"/>
                  <a:pt x="139" y="466"/>
                  <a:pt x="139" y="465"/>
                </a:cubicBezTo>
                <a:cubicBezTo>
                  <a:pt x="145" y="456"/>
                  <a:pt x="150" y="448"/>
                  <a:pt x="153" y="438"/>
                </a:cubicBezTo>
                <a:cubicBezTo>
                  <a:pt x="160" y="415"/>
                  <a:pt x="158" y="391"/>
                  <a:pt x="152" y="367"/>
                </a:cubicBezTo>
                <a:cubicBezTo>
                  <a:pt x="147" y="346"/>
                  <a:pt x="138" y="326"/>
                  <a:pt x="123" y="309"/>
                </a:cubicBezTo>
                <a:cubicBezTo>
                  <a:pt x="121" y="307"/>
                  <a:pt x="118" y="304"/>
                  <a:pt x="116" y="301"/>
                </a:cubicBezTo>
                <a:cubicBezTo>
                  <a:pt x="115" y="301"/>
                  <a:pt x="115" y="300"/>
                  <a:pt x="114" y="300"/>
                </a:cubicBezTo>
                <a:cubicBezTo>
                  <a:pt x="114" y="300"/>
                  <a:pt x="113" y="300"/>
                  <a:pt x="113" y="300"/>
                </a:cubicBezTo>
                <a:cubicBezTo>
                  <a:pt x="112" y="300"/>
                  <a:pt x="112" y="301"/>
                  <a:pt x="112" y="302"/>
                </a:cubicBezTo>
                <a:cubicBezTo>
                  <a:pt x="114" y="316"/>
                  <a:pt x="109" y="328"/>
                  <a:pt x="106" y="340"/>
                </a:cubicBezTo>
                <a:cubicBezTo>
                  <a:pt x="104" y="348"/>
                  <a:pt x="103" y="356"/>
                  <a:pt x="101" y="364"/>
                </a:cubicBezTo>
                <a:cubicBezTo>
                  <a:pt x="98" y="382"/>
                  <a:pt x="102" y="400"/>
                  <a:pt x="107" y="418"/>
                </a:cubicBezTo>
                <a:cubicBezTo>
                  <a:pt x="112" y="432"/>
                  <a:pt x="117" y="445"/>
                  <a:pt x="127" y="457"/>
                </a:cubicBezTo>
                <a:cubicBezTo>
                  <a:pt x="134" y="466"/>
                  <a:pt x="131" y="476"/>
                  <a:pt x="126" y="482"/>
                </a:cubicBezTo>
                <a:cubicBezTo>
                  <a:pt x="103" y="509"/>
                  <a:pt x="77" y="532"/>
                  <a:pt x="53" y="559"/>
                </a:cubicBezTo>
                <a:cubicBezTo>
                  <a:pt x="37" y="577"/>
                  <a:pt x="22" y="597"/>
                  <a:pt x="9" y="618"/>
                </a:cubicBezTo>
                <a:cubicBezTo>
                  <a:pt x="6" y="622"/>
                  <a:pt x="4" y="627"/>
                  <a:pt x="2" y="632"/>
                </a:cubicBezTo>
                <a:cubicBezTo>
                  <a:pt x="1" y="634"/>
                  <a:pt x="0" y="637"/>
                  <a:pt x="3" y="638"/>
                </a:cubicBezTo>
                <a:cubicBezTo>
                  <a:pt x="3" y="638"/>
                  <a:pt x="4" y="639"/>
                  <a:pt x="4" y="639"/>
                </a:cubicBezTo>
                <a:cubicBezTo>
                  <a:pt x="6" y="639"/>
                  <a:pt x="7" y="636"/>
                  <a:pt x="8" y="635"/>
                </a:cubicBezTo>
                <a:cubicBezTo>
                  <a:pt x="14" y="624"/>
                  <a:pt x="21" y="614"/>
                  <a:pt x="28" y="603"/>
                </a:cubicBezTo>
                <a:cubicBezTo>
                  <a:pt x="44" y="580"/>
                  <a:pt x="65" y="560"/>
                  <a:pt x="84" y="539"/>
                </a:cubicBezTo>
                <a:cubicBezTo>
                  <a:pt x="85" y="538"/>
                  <a:pt x="86" y="538"/>
                  <a:pt x="88" y="538"/>
                </a:cubicBezTo>
                <a:cubicBezTo>
                  <a:pt x="88" y="538"/>
                  <a:pt x="88" y="538"/>
                  <a:pt x="88" y="538"/>
                </a:cubicBezTo>
                <a:cubicBezTo>
                  <a:pt x="107" y="538"/>
                  <a:pt x="125" y="541"/>
                  <a:pt x="143" y="542"/>
                </a:cubicBezTo>
                <a:cubicBezTo>
                  <a:pt x="146" y="542"/>
                  <a:pt x="148" y="542"/>
                  <a:pt x="150" y="542"/>
                </a:cubicBezTo>
                <a:cubicBezTo>
                  <a:pt x="177" y="542"/>
                  <a:pt x="202" y="537"/>
                  <a:pt x="224" y="522"/>
                </a:cubicBezTo>
                <a:cubicBezTo>
                  <a:pt x="238" y="513"/>
                  <a:pt x="250" y="501"/>
                  <a:pt x="261" y="488"/>
                </a:cubicBezTo>
                <a:cubicBezTo>
                  <a:pt x="265" y="482"/>
                  <a:pt x="269" y="477"/>
                  <a:pt x="274" y="472"/>
                </a:cubicBezTo>
                <a:cubicBezTo>
                  <a:pt x="275" y="471"/>
                  <a:pt x="276" y="470"/>
                  <a:pt x="276" y="469"/>
                </a:cubicBezTo>
                <a:cubicBezTo>
                  <a:pt x="275" y="468"/>
                  <a:pt x="274" y="468"/>
                  <a:pt x="273" y="468"/>
                </a:cubicBezTo>
                <a:cubicBezTo>
                  <a:pt x="273" y="468"/>
                  <a:pt x="273" y="468"/>
                  <a:pt x="273" y="468"/>
                </a:cubicBezTo>
                <a:cubicBezTo>
                  <a:pt x="270" y="468"/>
                  <a:pt x="268" y="468"/>
                  <a:pt x="265" y="468"/>
                </a:cubicBezTo>
                <a:cubicBezTo>
                  <a:pt x="251" y="468"/>
                  <a:pt x="237" y="466"/>
                  <a:pt x="223" y="466"/>
                </a:cubicBezTo>
                <a:cubicBezTo>
                  <a:pt x="221" y="466"/>
                  <a:pt x="219" y="466"/>
                  <a:pt x="217" y="466"/>
                </a:cubicBezTo>
                <a:cubicBezTo>
                  <a:pt x="184" y="466"/>
                  <a:pt x="157" y="478"/>
                  <a:pt x="132" y="495"/>
                </a:cubicBezTo>
                <a:cubicBezTo>
                  <a:pt x="127" y="498"/>
                  <a:pt x="123" y="501"/>
                  <a:pt x="119" y="503"/>
                </a:cubicBezTo>
                <a:cubicBezTo>
                  <a:pt x="122" y="500"/>
                  <a:pt x="125" y="496"/>
                  <a:pt x="128" y="492"/>
                </a:cubicBezTo>
                <a:cubicBezTo>
                  <a:pt x="147" y="471"/>
                  <a:pt x="168" y="450"/>
                  <a:pt x="187" y="428"/>
                </a:cubicBezTo>
                <a:cubicBezTo>
                  <a:pt x="190" y="425"/>
                  <a:pt x="194" y="422"/>
                  <a:pt x="199" y="422"/>
                </a:cubicBezTo>
                <a:cubicBezTo>
                  <a:pt x="200" y="422"/>
                  <a:pt x="201" y="422"/>
                  <a:pt x="202" y="423"/>
                </a:cubicBezTo>
                <a:cubicBezTo>
                  <a:pt x="208" y="424"/>
                  <a:pt x="213" y="424"/>
                  <a:pt x="219" y="424"/>
                </a:cubicBezTo>
                <a:cubicBezTo>
                  <a:pt x="233" y="424"/>
                  <a:pt x="246" y="422"/>
                  <a:pt x="259" y="419"/>
                </a:cubicBezTo>
                <a:cubicBezTo>
                  <a:pt x="287" y="412"/>
                  <a:pt x="313" y="401"/>
                  <a:pt x="335" y="384"/>
                </a:cubicBezTo>
                <a:cubicBezTo>
                  <a:pt x="344" y="378"/>
                  <a:pt x="353" y="370"/>
                  <a:pt x="361" y="363"/>
                </a:cubicBezTo>
                <a:cubicBezTo>
                  <a:pt x="362" y="362"/>
                  <a:pt x="363" y="362"/>
                  <a:pt x="363" y="360"/>
                </a:cubicBezTo>
                <a:cubicBezTo>
                  <a:pt x="362" y="359"/>
                  <a:pt x="361" y="359"/>
                  <a:pt x="360" y="359"/>
                </a:cubicBezTo>
                <a:cubicBezTo>
                  <a:pt x="360" y="359"/>
                  <a:pt x="360" y="359"/>
                  <a:pt x="360" y="359"/>
                </a:cubicBezTo>
                <a:cubicBezTo>
                  <a:pt x="342" y="362"/>
                  <a:pt x="324" y="361"/>
                  <a:pt x="306" y="363"/>
                </a:cubicBezTo>
                <a:cubicBezTo>
                  <a:pt x="274" y="366"/>
                  <a:pt x="246" y="379"/>
                  <a:pt x="220" y="396"/>
                </a:cubicBezTo>
                <a:cubicBezTo>
                  <a:pt x="218" y="397"/>
                  <a:pt x="215" y="399"/>
                  <a:pt x="212" y="401"/>
                </a:cubicBezTo>
                <a:cubicBezTo>
                  <a:pt x="210" y="403"/>
                  <a:pt x="207" y="405"/>
                  <a:pt x="205" y="407"/>
                </a:cubicBezTo>
                <a:cubicBezTo>
                  <a:pt x="204" y="407"/>
                  <a:pt x="204" y="407"/>
                  <a:pt x="204" y="407"/>
                </a:cubicBezTo>
                <a:cubicBezTo>
                  <a:pt x="207" y="403"/>
                  <a:pt x="210" y="399"/>
                  <a:pt x="213" y="396"/>
                </a:cubicBezTo>
                <a:cubicBezTo>
                  <a:pt x="227" y="377"/>
                  <a:pt x="238" y="357"/>
                  <a:pt x="249" y="337"/>
                </a:cubicBezTo>
                <a:cubicBezTo>
                  <a:pt x="253" y="331"/>
                  <a:pt x="259" y="328"/>
                  <a:pt x="263" y="324"/>
                </a:cubicBezTo>
                <a:cubicBezTo>
                  <a:pt x="264" y="324"/>
                  <a:pt x="264" y="324"/>
                  <a:pt x="265" y="324"/>
                </a:cubicBezTo>
                <a:cubicBezTo>
                  <a:pt x="266" y="324"/>
                  <a:pt x="267" y="324"/>
                  <a:pt x="268" y="324"/>
                </a:cubicBezTo>
                <a:cubicBezTo>
                  <a:pt x="275" y="325"/>
                  <a:pt x="283" y="326"/>
                  <a:pt x="290" y="326"/>
                </a:cubicBezTo>
                <a:cubicBezTo>
                  <a:pt x="305" y="326"/>
                  <a:pt x="319" y="324"/>
                  <a:pt x="333" y="319"/>
                </a:cubicBezTo>
                <a:cubicBezTo>
                  <a:pt x="351" y="312"/>
                  <a:pt x="367" y="302"/>
                  <a:pt x="380" y="288"/>
                </a:cubicBezTo>
                <a:cubicBezTo>
                  <a:pt x="388" y="279"/>
                  <a:pt x="397" y="271"/>
                  <a:pt x="406" y="262"/>
                </a:cubicBezTo>
                <a:cubicBezTo>
                  <a:pt x="406" y="262"/>
                  <a:pt x="408" y="261"/>
                  <a:pt x="407" y="260"/>
                </a:cubicBezTo>
                <a:cubicBezTo>
                  <a:pt x="406" y="258"/>
                  <a:pt x="405" y="258"/>
                  <a:pt x="404" y="258"/>
                </a:cubicBezTo>
                <a:cubicBezTo>
                  <a:pt x="395" y="258"/>
                  <a:pt x="386" y="257"/>
                  <a:pt x="377" y="257"/>
                </a:cubicBezTo>
                <a:cubicBezTo>
                  <a:pt x="376" y="257"/>
                  <a:pt x="375" y="257"/>
                  <a:pt x="374" y="257"/>
                </a:cubicBezTo>
                <a:cubicBezTo>
                  <a:pt x="366" y="257"/>
                  <a:pt x="358" y="257"/>
                  <a:pt x="351" y="258"/>
                </a:cubicBezTo>
                <a:cubicBezTo>
                  <a:pt x="332" y="261"/>
                  <a:pt x="315" y="267"/>
                  <a:pt x="301" y="279"/>
                </a:cubicBezTo>
                <a:cubicBezTo>
                  <a:pt x="291" y="287"/>
                  <a:pt x="280" y="294"/>
                  <a:pt x="272" y="303"/>
                </a:cubicBezTo>
                <a:cubicBezTo>
                  <a:pt x="269" y="307"/>
                  <a:pt x="266" y="311"/>
                  <a:pt x="263" y="315"/>
                </a:cubicBezTo>
                <a:cubicBezTo>
                  <a:pt x="262" y="313"/>
                  <a:pt x="263" y="312"/>
                  <a:pt x="264" y="310"/>
                </a:cubicBezTo>
                <a:cubicBezTo>
                  <a:pt x="279" y="285"/>
                  <a:pt x="291" y="258"/>
                  <a:pt x="302" y="230"/>
                </a:cubicBezTo>
                <a:cubicBezTo>
                  <a:pt x="305" y="221"/>
                  <a:pt x="312" y="218"/>
                  <a:pt x="322" y="218"/>
                </a:cubicBezTo>
                <a:cubicBezTo>
                  <a:pt x="355" y="216"/>
                  <a:pt x="383" y="205"/>
                  <a:pt x="405" y="184"/>
                </a:cubicBezTo>
                <a:cubicBezTo>
                  <a:pt x="413" y="177"/>
                  <a:pt x="418" y="169"/>
                  <a:pt x="424" y="160"/>
                </a:cubicBezTo>
                <a:cubicBezTo>
                  <a:pt x="427" y="155"/>
                  <a:pt x="431" y="150"/>
                  <a:pt x="433" y="144"/>
                </a:cubicBezTo>
                <a:cubicBezTo>
                  <a:pt x="434" y="141"/>
                  <a:pt x="434" y="139"/>
                  <a:pt x="430" y="139"/>
                </a:cubicBezTo>
                <a:cubicBezTo>
                  <a:pt x="428" y="139"/>
                  <a:pt x="426" y="139"/>
                  <a:pt x="424" y="139"/>
                </a:cubicBezTo>
                <a:cubicBezTo>
                  <a:pt x="420" y="139"/>
                  <a:pt x="416" y="139"/>
                  <a:pt x="412" y="139"/>
                </a:cubicBezTo>
                <a:cubicBezTo>
                  <a:pt x="394" y="140"/>
                  <a:pt x="377" y="143"/>
                  <a:pt x="362" y="152"/>
                </a:cubicBezTo>
                <a:cubicBezTo>
                  <a:pt x="352" y="158"/>
                  <a:pt x="345" y="166"/>
                  <a:pt x="337" y="173"/>
                </a:cubicBezTo>
                <a:cubicBezTo>
                  <a:pt x="327" y="183"/>
                  <a:pt x="320" y="196"/>
                  <a:pt x="313" y="208"/>
                </a:cubicBezTo>
                <a:cubicBezTo>
                  <a:pt x="312" y="209"/>
                  <a:pt x="311" y="210"/>
                  <a:pt x="311" y="211"/>
                </a:cubicBezTo>
                <a:cubicBezTo>
                  <a:pt x="310" y="212"/>
                  <a:pt x="310" y="212"/>
                  <a:pt x="309" y="213"/>
                </a:cubicBezTo>
                <a:cubicBezTo>
                  <a:pt x="309" y="209"/>
                  <a:pt x="311" y="206"/>
                  <a:pt x="312" y="203"/>
                </a:cubicBezTo>
                <a:cubicBezTo>
                  <a:pt x="316" y="194"/>
                  <a:pt x="319" y="184"/>
                  <a:pt x="320" y="174"/>
                </a:cubicBezTo>
                <a:cubicBezTo>
                  <a:pt x="321" y="170"/>
                  <a:pt x="324" y="169"/>
                  <a:pt x="326" y="167"/>
                </a:cubicBezTo>
                <a:cubicBezTo>
                  <a:pt x="333" y="159"/>
                  <a:pt x="339" y="150"/>
                  <a:pt x="343" y="141"/>
                </a:cubicBezTo>
                <a:cubicBezTo>
                  <a:pt x="352" y="119"/>
                  <a:pt x="357" y="96"/>
                  <a:pt x="357" y="72"/>
                </a:cubicBezTo>
                <a:cubicBezTo>
                  <a:pt x="357" y="59"/>
                  <a:pt x="354" y="45"/>
                  <a:pt x="351" y="31"/>
                </a:cubicBezTo>
                <a:cubicBezTo>
                  <a:pt x="350" y="22"/>
                  <a:pt x="347" y="13"/>
                  <a:pt x="345" y="4"/>
                </a:cubicBezTo>
                <a:cubicBezTo>
                  <a:pt x="345" y="2"/>
                  <a:pt x="345" y="0"/>
                  <a:pt x="343" y="0"/>
                </a:cubicBezTo>
                <a:cubicBezTo>
                  <a:pt x="343" y="0"/>
                  <a:pt x="343" y="0"/>
                  <a:pt x="343" y="0"/>
                </a:cubicBezTo>
              </a:path>
            </a:pathLst>
          </a:custGeom>
          <a:gradFill flip="none" rotWithShape="1">
            <a:gsLst>
              <a:gs pos="15000">
                <a:schemeClr val="accent1">
                  <a:lumMod val="40000"/>
                  <a:lumOff val="60000"/>
                  <a:alpha val="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 dirty="0"/>
          </a:p>
        </p:txBody>
      </p:sp>
      <p:grpSp>
        <p:nvGrpSpPr>
          <p:cNvPr id="26" name="组合 25"/>
          <p:cNvGrpSpPr/>
          <p:nvPr/>
        </p:nvGrpSpPr>
        <p:grpSpPr>
          <a:xfrm>
            <a:off x="2828964" y="3775644"/>
            <a:ext cx="685652" cy="661391"/>
            <a:chOff x="2657475" y="2843213"/>
            <a:chExt cx="852488" cy="822324"/>
          </a:xfr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8900000" scaled="1"/>
          </a:gradFill>
        </p:grpSpPr>
        <p:sp>
          <p:nvSpPr>
            <p:cNvPr id="27" name="任意多边形: 形状 26"/>
            <p:cNvSpPr>
              <a:spLocks noEditPoints="1"/>
            </p:cNvSpPr>
            <p:nvPr/>
          </p:nvSpPr>
          <p:spPr bwMode="auto">
            <a:xfrm>
              <a:off x="2868613" y="3000375"/>
              <a:ext cx="279400" cy="542925"/>
            </a:xfrm>
            <a:custGeom>
              <a:avLst/>
              <a:gdLst>
                <a:gd name="T0" fmla="*/ 1608 w 2206"/>
                <a:gd name="T1" fmla="*/ 3957 h 4300"/>
                <a:gd name="T2" fmla="*/ 1760 w 2206"/>
                <a:gd name="T3" fmla="*/ 4268 h 4300"/>
                <a:gd name="T4" fmla="*/ 1569 w 2206"/>
                <a:gd name="T5" fmla="*/ 4125 h 4300"/>
                <a:gd name="T6" fmla="*/ 1362 w 2206"/>
                <a:gd name="T7" fmla="*/ 3849 h 4300"/>
                <a:gd name="T8" fmla="*/ 622 w 2206"/>
                <a:gd name="T9" fmla="*/ 3653 h 4300"/>
                <a:gd name="T10" fmla="*/ 241 w 2206"/>
                <a:gd name="T11" fmla="*/ 3328 h 4300"/>
                <a:gd name="T12" fmla="*/ 13 w 2206"/>
                <a:gd name="T13" fmla="*/ 2737 h 4300"/>
                <a:gd name="T14" fmla="*/ 217 w 2206"/>
                <a:gd name="T15" fmla="*/ 1713 h 4300"/>
                <a:gd name="T16" fmla="*/ 698 w 2206"/>
                <a:gd name="T17" fmla="*/ 1024 h 4300"/>
                <a:gd name="T18" fmla="*/ 1448 w 2206"/>
                <a:gd name="T19" fmla="*/ 418 h 4300"/>
                <a:gd name="T20" fmla="*/ 2105 w 2206"/>
                <a:gd name="T21" fmla="*/ 21 h 4300"/>
                <a:gd name="T22" fmla="*/ 2205 w 2206"/>
                <a:gd name="T23" fmla="*/ 81 h 4300"/>
                <a:gd name="T24" fmla="*/ 2177 w 2206"/>
                <a:gd name="T25" fmla="*/ 535 h 4300"/>
                <a:gd name="T26" fmla="*/ 2138 w 2206"/>
                <a:gd name="T27" fmla="*/ 965 h 4300"/>
                <a:gd name="T28" fmla="*/ 2121 w 2206"/>
                <a:gd name="T29" fmla="*/ 1613 h 4300"/>
                <a:gd name="T30" fmla="*/ 2009 w 2206"/>
                <a:gd name="T31" fmla="*/ 1654 h 4300"/>
                <a:gd name="T32" fmla="*/ 2005 w 2206"/>
                <a:gd name="T33" fmla="*/ 1102 h 4300"/>
                <a:gd name="T34" fmla="*/ 2065 w 2206"/>
                <a:gd name="T35" fmla="*/ 288 h 4300"/>
                <a:gd name="T36" fmla="*/ 1828 w 2206"/>
                <a:gd name="T37" fmla="*/ 614 h 4300"/>
                <a:gd name="T38" fmla="*/ 1383 w 2206"/>
                <a:gd name="T39" fmla="*/ 1323 h 4300"/>
                <a:gd name="T40" fmla="*/ 1248 w 2206"/>
                <a:gd name="T41" fmla="*/ 1709 h 4300"/>
                <a:gd name="T42" fmla="*/ 1146 w 2206"/>
                <a:gd name="T43" fmla="*/ 2151 h 4300"/>
                <a:gd name="T44" fmla="*/ 1150 w 2206"/>
                <a:gd name="T45" fmla="*/ 2673 h 4300"/>
                <a:gd name="T46" fmla="*/ 1299 w 2206"/>
                <a:gd name="T47" fmla="*/ 3342 h 4300"/>
                <a:gd name="T48" fmla="*/ 1413 w 2206"/>
                <a:gd name="T49" fmla="*/ 3644 h 4300"/>
                <a:gd name="T50" fmla="*/ 1479 w 2206"/>
                <a:gd name="T51" fmla="*/ 3711 h 4300"/>
                <a:gd name="T52" fmla="*/ 1921 w 2206"/>
                <a:gd name="T53" fmla="*/ 3531 h 4300"/>
                <a:gd name="T54" fmla="*/ 1976 w 2206"/>
                <a:gd name="T55" fmla="*/ 3642 h 4300"/>
                <a:gd name="T56" fmla="*/ 1527 w 2206"/>
                <a:gd name="T57" fmla="*/ 3835 h 4300"/>
                <a:gd name="T58" fmla="*/ 1901 w 2206"/>
                <a:gd name="T59" fmla="*/ 292 h 4300"/>
                <a:gd name="T60" fmla="*/ 1463 w 2206"/>
                <a:gd name="T61" fmla="*/ 553 h 4300"/>
                <a:gd name="T62" fmla="*/ 741 w 2206"/>
                <a:gd name="T63" fmla="*/ 1159 h 4300"/>
                <a:gd name="T64" fmla="*/ 342 w 2206"/>
                <a:gd name="T65" fmla="*/ 1742 h 4300"/>
                <a:gd name="T66" fmla="*/ 137 w 2206"/>
                <a:gd name="T67" fmla="*/ 2719 h 4300"/>
                <a:gd name="T68" fmla="*/ 339 w 2206"/>
                <a:gd name="T69" fmla="*/ 3249 h 4300"/>
                <a:gd name="T70" fmla="*/ 630 w 2206"/>
                <a:gd name="T71" fmla="*/ 3512 h 4300"/>
                <a:gd name="T72" fmla="*/ 954 w 2206"/>
                <a:gd name="T73" fmla="*/ 3668 h 4300"/>
                <a:gd name="T74" fmla="*/ 1308 w 2206"/>
                <a:gd name="T75" fmla="*/ 3726 h 4300"/>
                <a:gd name="T76" fmla="*/ 1128 w 2206"/>
                <a:gd name="T77" fmla="*/ 3234 h 4300"/>
                <a:gd name="T78" fmla="*/ 1019 w 2206"/>
                <a:gd name="T79" fmla="*/ 2506 h 4300"/>
                <a:gd name="T80" fmla="*/ 1019 w 2206"/>
                <a:gd name="T81" fmla="*/ 2154 h 4300"/>
                <a:gd name="T82" fmla="*/ 1137 w 2206"/>
                <a:gd name="T83" fmla="*/ 1645 h 4300"/>
                <a:gd name="T84" fmla="*/ 1231 w 2206"/>
                <a:gd name="T85" fmla="*/ 1362 h 4300"/>
                <a:gd name="T86" fmla="*/ 1748 w 2206"/>
                <a:gd name="T87" fmla="*/ 510 h 4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06" h="4300">
                  <a:moveTo>
                    <a:pt x="1527" y="3835"/>
                  </a:moveTo>
                  <a:cubicBezTo>
                    <a:pt x="1553" y="3874"/>
                    <a:pt x="1580" y="3915"/>
                    <a:pt x="1608" y="3957"/>
                  </a:cubicBezTo>
                  <a:cubicBezTo>
                    <a:pt x="1659" y="4033"/>
                    <a:pt x="1711" y="4110"/>
                    <a:pt x="1762" y="4187"/>
                  </a:cubicBezTo>
                  <a:cubicBezTo>
                    <a:pt x="1781" y="4216"/>
                    <a:pt x="1780" y="4246"/>
                    <a:pt x="1760" y="4268"/>
                  </a:cubicBezTo>
                  <a:cubicBezTo>
                    <a:pt x="1731" y="4300"/>
                    <a:pt x="1683" y="4295"/>
                    <a:pt x="1657" y="4257"/>
                  </a:cubicBezTo>
                  <a:cubicBezTo>
                    <a:pt x="1628" y="4213"/>
                    <a:pt x="1598" y="4169"/>
                    <a:pt x="1569" y="4125"/>
                  </a:cubicBezTo>
                  <a:cubicBezTo>
                    <a:pt x="1509" y="4037"/>
                    <a:pt x="1449" y="3949"/>
                    <a:pt x="1390" y="3860"/>
                  </a:cubicBezTo>
                  <a:cubicBezTo>
                    <a:pt x="1382" y="3848"/>
                    <a:pt x="1373" y="3848"/>
                    <a:pt x="1362" y="3849"/>
                  </a:cubicBezTo>
                  <a:cubicBezTo>
                    <a:pt x="1177" y="3860"/>
                    <a:pt x="1000" y="3834"/>
                    <a:pt x="833" y="3752"/>
                  </a:cubicBezTo>
                  <a:cubicBezTo>
                    <a:pt x="763" y="3717"/>
                    <a:pt x="691" y="3689"/>
                    <a:pt x="622" y="3653"/>
                  </a:cubicBezTo>
                  <a:cubicBezTo>
                    <a:pt x="511" y="3594"/>
                    <a:pt x="416" y="3515"/>
                    <a:pt x="333" y="3420"/>
                  </a:cubicBezTo>
                  <a:cubicBezTo>
                    <a:pt x="305" y="3387"/>
                    <a:pt x="270" y="3360"/>
                    <a:pt x="241" y="3328"/>
                  </a:cubicBezTo>
                  <a:cubicBezTo>
                    <a:pt x="166" y="3246"/>
                    <a:pt x="121" y="3148"/>
                    <a:pt x="80" y="3046"/>
                  </a:cubicBezTo>
                  <a:cubicBezTo>
                    <a:pt x="41" y="2946"/>
                    <a:pt x="25" y="2842"/>
                    <a:pt x="13" y="2737"/>
                  </a:cubicBezTo>
                  <a:cubicBezTo>
                    <a:pt x="3" y="2654"/>
                    <a:pt x="0" y="2571"/>
                    <a:pt x="9" y="2488"/>
                  </a:cubicBezTo>
                  <a:cubicBezTo>
                    <a:pt x="38" y="2219"/>
                    <a:pt x="97" y="1958"/>
                    <a:pt x="217" y="1713"/>
                  </a:cubicBezTo>
                  <a:cubicBezTo>
                    <a:pt x="281" y="1581"/>
                    <a:pt x="348" y="1451"/>
                    <a:pt x="434" y="1331"/>
                  </a:cubicBezTo>
                  <a:cubicBezTo>
                    <a:pt x="513" y="1221"/>
                    <a:pt x="602" y="1119"/>
                    <a:pt x="698" y="1024"/>
                  </a:cubicBezTo>
                  <a:cubicBezTo>
                    <a:pt x="777" y="947"/>
                    <a:pt x="854" y="868"/>
                    <a:pt x="933" y="792"/>
                  </a:cubicBezTo>
                  <a:cubicBezTo>
                    <a:pt x="1087" y="643"/>
                    <a:pt x="1258" y="518"/>
                    <a:pt x="1448" y="418"/>
                  </a:cubicBezTo>
                  <a:cubicBezTo>
                    <a:pt x="1561" y="359"/>
                    <a:pt x="1668" y="287"/>
                    <a:pt x="1778" y="220"/>
                  </a:cubicBezTo>
                  <a:cubicBezTo>
                    <a:pt x="1887" y="154"/>
                    <a:pt x="1996" y="87"/>
                    <a:pt x="2105" y="21"/>
                  </a:cubicBezTo>
                  <a:cubicBezTo>
                    <a:pt x="2141" y="0"/>
                    <a:pt x="2179" y="6"/>
                    <a:pt x="2197" y="39"/>
                  </a:cubicBezTo>
                  <a:cubicBezTo>
                    <a:pt x="2203" y="51"/>
                    <a:pt x="2206" y="67"/>
                    <a:pt x="2205" y="81"/>
                  </a:cubicBezTo>
                  <a:cubicBezTo>
                    <a:pt x="2203" y="136"/>
                    <a:pt x="2200" y="191"/>
                    <a:pt x="2196" y="246"/>
                  </a:cubicBezTo>
                  <a:cubicBezTo>
                    <a:pt x="2190" y="343"/>
                    <a:pt x="2184" y="439"/>
                    <a:pt x="2177" y="535"/>
                  </a:cubicBezTo>
                  <a:cubicBezTo>
                    <a:pt x="2171" y="610"/>
                    <a:pt x="2163" y="685"/>
                    <a:pt x="2156" y="760"/>
                  </a:cubicBezTo>
                  <a:cubicBezTo>
                    <a:pt x="2150" y="828"/>
                    <a:pt x="2142" y="896"/>
                    <a:pt x="2138" y="965"/>
                  </a:cubicBezTo>
                  <a:cubicBezTo>
                    <a:pt x="2131" y="1069"/>
                    <a:pt x="2125" y="1174"/>
                    <a:pt x="2122" y="1280"/>
                  </a:cubicBezTo>
                  <a:cubicBezTo>
                    <a:pt x="2119" y="1391"/>
                    <a:pt x="2121" y="1502"/>
                    <a:pt x="2121" y="1613"/>
                  </a:cubicBezTo>
                  <a:cubicBezTo>
                    <a:pt x="2121" y="1643"/>
                    <a:pt x="2104" y="1667"/>
                    <a:pt x="2079" y="1675"/>
                  </a:cubicBezTo>
                  <a:cubicBezTo>
                    <a:pt x="2053" y="1683"/>
                    <a:pt x="2025" y="1676"/>
                    <a:pt x="2009" y="1654"/>
                  </a:cubicBezTo>
                  <a:cubicBezTo>
                    <a:pt x="2002" y="1645"/>
                    <a:pt x="1997" y="1632"/>
                    <a:pt x="1997" y="1621"/>
                  </a:cubicBezTo>
                  <a:cubicBezTo>
                    <a:pt x="1999" y="1448"/>
                    <a:pt x="1998" y="1275"/>
                    <a:pt x="2005" y="1102"/>
                  </a:cubicBezTo>
                  <a:cubicBezTo>
                    <a:pt x="2012" y="952"/>
                    <a:pt x="2028" y="802"/>
                    <a:pt x="2040" y="652"/>
                  </a:cubicBezTo>
                  <a:cubicBezTo>
                    <a:pt x="2050" y="531"/>
                    <a:pt x="2060" y="411"/>
                    <a:pt x="2065" y="288"/>
                  </a:cubicBezTo>
                  <a:cubicBezTo>
                    <a:pt x="2062" y="293"/>
                    <a:pt x="2058" y="297"/>
                    <a:pt x="2054" y="302"/>
                  </a:cubicBezTo>
                  <a:cubicBezTo>
                    <a:pt x="1979" y="406"/>
                    <a:pt x="1905" y="511"/>
                    <a:pt x="1828" y="614"/>
                  </a:cubicBezTo>
                  <a:cubicBezTo>
                    <a:pt x="1785" y="672"/>
                    <a:pt x="1735" y="726"/>
                    <a:pt x="1695" y="786"/>
                  </a:cubicBezTo>
                  <a:cubicBezTo>
                    <a:pt x="1580" y="958"/>
                    <a:pt x="1466" y="1132"/>
                    <a:pt x="1383" y="1323"/>
                  </a:cubicBezTo>
                  <a:cubicBezTo>
                    <a:pt x="1332" y="1441"/>
                    <a:pt x="1290" y="1561"/>
                    <a:pt x="1258" y="1686"/>
                  </a:cubicBezTo>
                  <a:cubicBezTo>
                    <a:pt x="1255" y="1694"/>
                    <a:pt x="1254" y="1705"/>
                    <a:pt x="1248" y="1709"/>
                  </a:cubicBezTo>
                  <a:cubicBezTo>
                    <a:pt x="1217" y="1736"/>
                    <a:pt x="1217" y="1774"/>
                    <a:pt x="1210" y="1809"/>
                  </a:cubicBezTo>
                  <a:cubicBezTo>
                    <a:pt x="1188" y="1923"/>
                    <a:pt x="1167" y="2037"/>
                    <a:pt x="1146" y="2151"/>
                  </a:cubicBezTo>
                  <a:cubicBezTo>
                    <a:pt x="1144" y="2161"/>
                    <a:pt x="1143" y="2170"/>
                    <a:pt x="1143" y="2179"/>
                  </a:cubicBezTo>
                  <a:cubicBezTo>
                    <a:pt x="1145" y="2344"/>
                    <a:pt x="1146" y="2508"/>
                    <a:pt x="1150" y="2673"/>
                  </a:cubicBezTo>
                  <a:cubicBezTo>
                    <a:pt x="1153" y="2748"/>
                    <a:pt x="1165" y="2822"/>
                    <a:pt x="1171" y="2897"/>
                  </a:cubicBezTo>
                  <a:cubicBezTo>
                    <a:pt x="1182" y="3055"/>
                    <a:pt x="1250" y="3196"/>
                    <a:pt x="1299" y="3342"/>
                  </a:cubicBezTo>
                  <a:cubicBezTo>
                    <a:pt x="1317" y="3396"/>
                    <a:pt x="1342" y="3447"/>
                    <a:pt x="1362" y="3500"/>
                  </a:cubicBezTo>
                  <a:cubicBezTo>
                    <a:pt x="1380" y="3547"/>
                    <a:pt x="1396" y="3596"/>
                    <a:pt x="1413" y="3644"/>
                  </a:cubicBezTo>
                  <a:cubicBezTo>
                    <a:pt x="1419" y="3659"/>
                    <a:pt x="1427" y="3674"/>
                    <a:pt x="1435" y="3689"/>
                  </a:cubicBezTo>
                  <a:cubicBezTo>
                    <a:pt x="1448" y="3717"/>
                    <a:pt x="1448" y="3716"/>
                    <a:pt x="1479" y="3711"/>
                  </a:cubicBezTo>
                  <a:cubicBezTo>
                    <a:pt x="1612" y="3688"/>
                    <a:pt x="1735" y="3641"/>
                    <a:pt x="1848" y="3568"/>
                  </a:cubicBezTo>
                  <a:cubicBezTo>
                    <a:pt x="1871" y="3553"/>
                    <a:pt x="1896" y="3542"/>
                    <a:pt x="1921" y="3531"/>
                  </a:cubicBezTo>
                  <a:cubicBezTo>
                    <a:pt x="1952" y="3518"/>
                    <a:pt x="1986" y="3532"/>
                    <a:pt x="2000" y="3562"/>
                  </a:cubicBezTo>
                  <a:cubicBezTo>
                    <a:pt x="2013" y="3591"/>
                    <a:pt x="2004" y="3627"/>
                    <a:pt x="1976" y="3642"/>
                  </a:cubicBezTo>
                  <a:cubicBezTo>
                    <a:pt x="1898" y="3684"/>
                    <a:pt x="1822" y="3729"/>
                    <a:pt x="1741" y="3764"/>
                  </a:cubicBezTo>
                  <a:cubicBezTo>
                    <a:pt x="1673" y="3794"/>
                    <a:pt x="1599" y="3812"/>
                    <a:pt x="1527" y="3835"/>
                  </a:cubicBezTo>
                  <a:close/>
                  <a:moveTo>
                    <a:pt x="1904" y="295"/>
                  </a:moveTo>
                  <a:cubicBezTo>
                    <a:pt x="1903" y="294"/>
                    <a:pt x="1902" y="293"/>
                    <a:pt x="1901" y="292"/>
                  </a:cubicBezTo>
                  <a:cubicBezTo>
                    <a:pt x="1859" y="317"/>
                    <a:pt x="1818" y="343"/>
                    <a:pt x="1775" y="368"/>
                  </a:cubicBezTo>
                  <a:cubicBezTo>
                    <a:pt x="1672" y="430"/>
                    <a:pt x="1568" y="493"/>
                    <a:pt x="1463" y="553"/>
                  </a:cubicBezTo>
                  <a:cubicBezTo>
                    <a:pt x="1362" y="610"/>
                    <a:pt x="1264" y="673"/>
                    <a:pt x="1173" y="747"/>
                  </a:cubicBezTo>
                  <a:cubicBezTo>
                    <a:pt x="1018" y="872"/>
                    <a:pt x="882" y="1018"/>
                    <a:pt x="741" y="1159"/>
                  </a:cubicBezTo>
                  <a:cubicBezTo>
                    <a:pt x="702" y="1198"/>
                    <a:pt x="666" y="1240"/>
                    <a:pt x="631" y="1282"/>
                  </a:cubicBezTo>
                  <a:cubicBezTo>
                    <a:pt x="513" y="1422"/>
                    <a:pt x="422" y="1578"/>
                    <a:pt x="342" y="1742"/>
                  </a:cubicBezTo>
                  <a:cubicBezTo>
                    <a:pt x="226" y="1977"/>
                    <a:pt x="164" y="2224"/>
                    <a:pt x="136" y="2482"/>
                  </a:cubicBezTo>
                  <a:cubicBezTo>
                    <a:pt x="128" y="2562"/>
                    <a:pt x="128" y="2640"/>
                    <a:pt x="137" y="2719"/>
                  </a:cubicBezTo>
                  <a:cubicBezTo>
                    <a:pt x="148" y="2815"/>
                    <a:pt x="162" y="2909"/>
                    <a:pt x="197" y="2999"/>
                  </a:cubicBezTo>
                  <a:cubicBezTo>
                    <a:pt x="233" y="3089"/>
                    <a:pt x="272" y="3177"/>
                    <a:pt x="339" y="3249"/>
                  </a:cubicBezTo>
                  <a:cubicBezTo>
                    <a:pt x="363" y="3275"/>
                    <a:pt x="393" y="3297"/>
                    <a:pt x="416" y="3324"/>
                  </a:cubicBezTo>
                  <a:cubicBezTo>
                    <a:pt x="478" y="3397"/>
                    <a:pt x="550" y="3458"/>
                    <a:pt x="630" y="3512"/>
                  </a:cubicBezTo>
                  <a:cubicBezTo>
                    <a:pt x="724" y="3575"/>
                    <a:pt x="833" y="3606"/>
                    <a:pt x="932" y="3659"/>
                  </a:cubicBezTo>
                  <a:cubicBezTo>
                    <a:pt x="939" y="3663"/>
                    <a:pt x="947" y="3665"/>
                    <a:pt x="954" y="3668"/>
                  </a:cubicBezTo>
                  <a:cubicBezTo>
                    <a:pt x="1062" y="3711"/>
                    <a:pt x="1176" y="3726"/>
                    <a:pt x="1292" y="3727"/>
                  </a:cubicBezTo>
                  <a:cubicBezTo>
                    <a:pt x="1297" y="3727"/>
                    <a:pt x="1303" y="3726"/>
                    <a:pt x="1308" y="3726"/>
                  </a:cubicBezTo>
                  <a:cubicBezTo>
                    <a:pt x="1287" y="3666"/>
                    <a:pt x="1268" y="3607"/>
                    <a:pt x="1246" y="3549"/>
                  </a:cubicBezTo>
                  <a:cubicBezTo>
                    <a:pt x="1207" y="3444"/>
                    <a:pt x="1162" y="3340"/>
                    <a:pt x="1128" y="3234"/>
                  </a:cubicBezTo>
                  <a:cubicBezTo>
                    <a:pt x="1093" y="3128"/>
                    <a:pt x="1052" y="3025"/>
                    <a:pt x="1044" y="2910"/>
                  </a:cubicBezTo>
                  <a:cubicBezTo>
                    <a:pt x="1034" y="2775"/>
                    <a:pt x="1021" y="2641"/>
                    <a:pt x="1019" y="2506"/>
                  </a:cubicBezTo>
                  <a:cubicBezTo>
                    <a:pt x="1017" y="2394"/>
                    <a:pt x="1018" y="2282"/>
                    <a:pt x="1017" y="2170"/>
                  </a:cubicBezTo>
                  <a:cubicBezTo>
                    <a:pt x="1017" y="2164"/>
                    <a:pt x="1018" y="2159"/>
                    <a:pt x="1019" y="2154"/>
                  </a:cubicBezTo>
                  <a:cubicBezTo>
                    <a:pt x="1044" y="2019"/>
                    <a:pt x="1068" y="1885"/>
                    <a:pt x="1094" y="1750"/>
                  </a:cubicBezTo>
                  <a:cubicBezTo>
                    <a:pt x="1101" y="1713"/>
                    <a:pt x="1101" y="1672"/>
                    <a:pt x="1137" y="1645"/>
                  </a:cubicBezTo>
                  <a:cubicBezTo>
                    <a:pt x="1142" y="1641"/>
                    <a:pt x="1142" y="1631"/>
                    <a:pt x="1145" y="1624"/>
                  </a:cubicBezTo>
                  <a:cubicBezTo>
                    <a:pt x="1173" y="1537"/>
                    <a:pt x="1199" y="1448"/>
                    <a:pt x="1231" y="1362"/>
                  </a:cubicBezTo>
                  <a:cubicBezTo>
                    <a:pt x="1309" y="1153"/>
                    <a:pt x="1428" y="965"/>
                    <a:pt x="1548" y="778"/>
                  </a:cubicBezTo>
                  <a:cubicBezTo>
                    <a:pt x="1608" y="684"/>
                    <a:pt x="1680" y="598"/>
                    <a:pt x="1748" y="510"/>
                  </a:cubicBezTo>
                  <a:cubicBezTo>
                    <a:pt x="1803" y="440"/>
                    <a:pt x="1852" y="367"/>
                    <a:pt x="1904" y="2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 bwMode="auto">
            <a:xfrm>
              <a:off x="2733675" y="2917825"/>
              <a:ext cx="596900" cy="700087"/>
            </a:xfrm>
            <a:custGeom>
              <a:avLst/>
              <a:gdLst>
                <a:gd name="T0" fmla="*/ 2837 w 4710"/>
                <a:gd name="T1" fmla="*/ 5414 h 5542"/>
                <a:gd name="T2" fmla="*/ 3697 w 4710"/>
                <a:gd name="T3" fmla="*/ 5249 h 5542"/>
                <a:gd name="T4" fmla="*/ 4465 w 4710"/>
                <a:gd name="T5" fmla="*/ 4803 h 5542"/>
                <a:gd name="T6" fmla="*/ 4594 w 4710"/>
                <a:gd name="T7" fmla="*/ 4690 h 5542"/>
                <a:gd name="T8" fmla="*/ 4686 w 4710"/>
                <a:gd name="T9" fmla="*/ 4691 h 5542"/>
                <a:gd name="T10" fmla="*/ 4679 w 4710"/>
                <a:gd name="T11" fmla="*/ 4782 h 5542"/>
                <a:gd name="T12" fmla="*/ 3414 w 4710"/>
                <a:gd name="T13" fmla="*/ 5466 h 5542"/>
                <a:gd name="T14" fmla="*/ 2861 w 4710"/>
                <a:gd name="T15" fmla="*/ 5539 h 5542"/>
                <a:gd name="T16" fmla="*/ 2463 w 4710"/>
                <a:gd name="T17" fmla="*/ 5523 h 5542"/>
                <a:gd name="T18" fmla="*/ 1127 w 4710"/>
                <a:gd name="T19" fmla="*/ 5006 h 5542"/>
                <a:gd name="T20" fmla="*/ 328 w 4710"/>
                <a:gd name="T21" fmla="*/ 4089 h 5542"/>
                <a:gd name="T22" fmla="*/ 53 w 4710"/>
                <a:gd name="T23" fmla="*/ 3320 h 5542"/>
                <a:gd name="T24" fmla="*/ 3 w 4710"/>
                <a:gd name="T25" fmla="*/ 2852 h 5542"/>
                <a:gd name="T26" fmla="*/ 16 w 4710"/>
                <a:gd name="T27" fmla="*/ 2524 h 5542"/>
                <a:gd name="T28" fmla="*/ 317 w 4710"/>
                <a:gd name="T29" fmla="*/ 1487 h 5542"/>
                <a:gd name="T30" fmla="*/ 745 w 4710"/>
                <a:gd name="T31" fmla="*/ 886 h 5542"/>
                <a:gd name="T32" fmla="*/ 2092 w 4710"/>
                <a:gd name="T33" fmla="*/ 88 h 5542"/>
                <a:gd name="T34" fmla="*/ 2484 w 4710"/>
                <a:gd name="T35" fmla="*/ 18 h 5542"/>
                <a:gd name="T36" fmla="*/ 2776 w 4710"/>
                <a:gd name="T37" fmla="*/ 1 h 5542"/>
                <a:gd name="T38" fmla="*/ 2838 w 4710"/>
                <a:gd name="T39" fmla="*/ 38 h 5542"/>
                <a:gd name="T40" fmla="*/ 2781 w 4710"/>
                <a:gd name="T41" fmla="*/ 126 h 5542"/>
                <a:gd name="T42" fmla="*/ 2484 w 4710"/>
                <a:gd name="T43" fmla="*/ 143 h 5542"/>
                <a:gd name="T44" fmla="*/ 1975 w 4710"/>
                <a:gd name="T45" fmla="*/ 252 h 5542"/>
                <a:gd name="T46" fmla="*/ 1120 w 4710"/>
                <a:gd name="T47" fmla="*/ 709 h 5542"/>
                <a:gd name="T48" fmla="*/ 431 w 4710"/>
                <a:gd name="T49" fmla="*/ 1541 h 5542"/>
                <a:gd name="T50" fmla="*/ 186 w 4710"/>
                <a:gd name="T51" fmla="*/ 2241 h 5542"/>
                <a:gd name="T52" fmla="*/ 129 w 4710"/>
                <a:gd name="T53" fmla="*/ 2892 h 5542"/>
                <a:gd name="T54" fmla="*/ 326 w 4710"/>
                <a:gd name="T55" fmla="*/ 3792 h 5542"/>
                <a:gd name="T56" fmla="*/ 707 w 4710"/>
                <a:gd name="T57" fmla="*/ 4433 h 5542"/>
                <a:gd name="T58" fmla="*/ 1407 w 4710"/>
                <a:gd name="T59" fmla="*/ 5041 h 5542"/>
                <a:gd name="T60" fmla="*/ 2236 w 4710"/>
                <a:gd name="T61" fmla="*/ 5361 h 5542"/>
                <a:gd name="T62" fmla="*/ 2747 w 4710"/>
                <a:gd name="T63" fmla="*/ 5414 h 5542"/>
                <a:gd name="T64" fmla="*/ 2837 w 4710"/>
                <a:gd name="T65" fmla="*/ 5414 h 5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710" h="5542">
                  <a:moveTo>
                    <a:pt x="2837" y="5414"/>
                  </a:moveTo>
                  <a:cubicBezTo>
                    <a:pt x="3133" y="5408"/>
                    <a:pt x="3420" y="5353"/>
                    <a:pt x="3697" y="5249"/>
                  </a:cubicBezTo>
                  <a:cubicBezTo>
                    <a:pt x="3978" y="5143"/>
                    <a:pt x="4234" y="4995"/>
                    <a:pt x="4465" y="4803"/>
                  </a:cubicBezTo>
                  <a:cubicBezTo>
                    <a:pt x="4509" y="4767"/>
                    <a:pt x="4551" y="4728"/>
                    <a:pt x="4594" y="4690"/>
                  </a:cubicBezTo>
                  <a:cubicBezTo>
                    <a:pt x="4623" y="4664"/>
                    <a:pt x="4661" y="4664"/>
                    <a:pt x="4686" y="4691"/>
                  </a:cubicBezTo>
                  <a:cubicBezTo>
                    <a:pt x="4710" y="4717"/>
                    <a:pt x="4707" y="4756"/>
                    <a:pt x="4679" y="4782"/>
                  </a:cubicBezTo>
                  <a:cubicBezTo>
                    <a:pt x="4317" y="5120"/>
                    <a:pt x="3896" y="5350"/>
                    <a:pt x="3414" y="5466"/>
                  </a:cubicBezTo>
                  <a:cubicBezTo>
                    <a:pt x="3232" y="5510"/>
                    <a:pt x="3048" y="5534"/>
                    <a:pt x="2861" y="5539"/>
                  </a:cubicBezTo>
                  <a:cubicBezTo>
                    <a:pt x="2728" y="5542"/>
                    <a:pt x="2595" y="5538"/>
                    <a:pt x="2463" y="5523"/>
                  </a:cubicBezTo>
                  <a:cubicBezTo>
                    <a:pt x="1972" y="5468"/>
                    <a:pt x="1526" y="5296"/>
                    <a:pt x="1127" y="5006"/>
                  </a:cubicBezTo>
                  <a:cubicBezTo>
                    <a:pt x="792" y="4761"/>
                    <a:pt x="526" y="4455"/>
                    <a:pt x="328" y="4089"/>
                  </a:cubicBezTo>
                  <a:cubicBezTo>
                    <a:pt x="198" y="3847"/>
                    <a:pt x="106" y="3590"/>
                    <a:pt x="53" y="3320"/>
                  </a:cubicBezTo>
                  <a:cubicBezTo>
                    <a:pt x="23" y="3166"/>
                    <a:pt x="6" y="3010"/>
                    <a:pt x="3" y="2852"/>
                  </a:cubicBezTo>
                  <a:cubicBezTo>
                    <a:pt x="0" y="2742"/>
                    <a:pt x="5" y="2633"/>
                    <a:pt x="16" y="2524"/>
                  </a:cubicBezTo>
                  <a:cubicBezTo>
                    <a:pt x="55" y="2160"/>
                    <a:pt x="145" y="1812"/>
                    <a:pt x="317" y="1487"/>
                  </a:cubicBezTo>
                  <a:cubicBezTo>
                    <a:pt x="433" y="1268"/>
                    <a:pt x="574" y="1067"/>
                    <a:pt x="745" y="886"/>
                  </a:cubicBezTo>
                  <a:cubicBezTo>
                    <a:pt x="1117" y="491"/>
                    <a:pt x="1566" y="225"/>
                    <a:pt x="2092" y="88"/>
                  </a:cubicBezTo>
                  <a:cubicBezTo>
                    <a:pt x="2220" y="54"/>
                    <a:pt x="2351" y="29"/>
                    <a:pt x="2484" y="18"/>
                  </a:cubicBezTo>
                  <a:cubicBezTo>
                    <a:pt x="2581" y="10"/>
                    <a:pt x="2679" y="7"/>
                    <a:pt x="2776" y="1"/>
                  </a:cubicBezTo>
                  <a:cubicBezTo>
                    <a:pt x="2805" y="0"/>
                    <a:pt x="2826" y="12"/>
                    <a:pt x="2838" y="38"/>
                  </a:cubicBezTo>
                  <a:cubicBezTo>
                    <a:pt x="2857" y="79"/>
                    <a:pt x="2827" y="124"/>
                    <a:pt x="2781" y="126"/>
                  </a:cubicBezTo>
                  <a:cubicBezTo>
                    <a:pt x="2682" y="131"/>
                    <a:pt x="2583" y="133"/>
                    <a:pt x="2484" y="143"/>
                  </a:cubicBezTo>
                  <a:cubicBezTo>
                    <a:pt x="2311" y="161"/>
                    <a:pt x="2141" y="198"/>
                    <a:pt x="1975" y="252"/>
                  </a:cubicBezTo>
                  <a:cubicBezTo>
                    <a:pt x="1662" y="352"/>
                    <a:pt x="1377" y="504"/>
                    <a:pt x="1120" y="709"/>
                  </a:cubicBezTo>
                  <a:cubicBezTo>
                    <a:pt x="833" y="939"/>
                    <a:pt x="602" y="1216"/>
                    <a:pt x="431" y="1541"/>
                  </a:cubicBezTo>
                  <a:cubicBezTo>
                    <a:pt x="314" y="1762"/>
                    <a:pt x="231" y="1996"/>
                    <a:pt x="186" y="2241"/>
                  </a:cubicBezTo>
                  <a:cubicBezTo>
                    <a:pt x="145" y="2456"/>
                    <a:pt x="119" y="2673"/>
                    <a:pt x="129" y="2892"/>
                  </a:cubicBezTo>
                  <a:cubicBezTo>
                    <a:pt x="143" y="3203"/>
                    <a:pt x="207" y="3504"/>
                    <a:pt x="326" y="3792"/>
                  </a:cubicBezTo>
                  <a:cubicBezTo>
                    <a:pt x="422" y="4024"/>
                    <a:pt x="549" y="4238"/>
                    <a:pt x="707" y="4433"/>
                  </a:cubicBezTo>
                  <a:cubicBezTo>
                    <a:pt x="904" y="4677"/>
                    <a:pt x="1138" y="4880"/>
                    <a:pt x="1407" y="5041"/>
                  </a:cubicBezTo>
                  <a:cubicBezTo>
                    <a:pt x="1665" y="5194"/>
                    <a:pt x="1942" y="5301"/>
                    <a:pt x="2236" y="5361"/>
                  </a:cubicBezTo>
                  <a:cubicBezTo>
                    <a:pt x="2404" y="5395"/>
                    <a:pt x="2575" y="5415"/>
                    <a:pt x="2747" y="5414"/>
                  </a:cubicBezTo>
                  <a:cubicBezTo>
                    <a:pt x="2777" y="5414"/>
                    <a:pt x="2807" y="5414"/>
                    <a:pt x="2837" y="54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9" name="任意多边形: 形状 28"/>
            <p:cNvSpPr/>
            <p:nvPr/>
          </p:nvSpPr>
          <p:spPr bwMode="auto">
            <a:xfrm>
              <a:off x="2924175" y="2843213"/>
              <a:ext cx="585788" cy="822324"/>
            </a:xfrm>
            <a:custGeom>
              <a:avLst/>
              <a:gdLst>
                <a:gd name="T0" fmla="*/ 1270 w 4626"/>
                <a:gd name="T1" fmla="*/ 127 h 6513"/>
                <a:gd name="T2" fmla="*/ 269 w 4626"/>
                <a:gd name="T3" fmla="*/ 286 h 6513"/>
                <a:gd name="T4" fmla="*/ 95 w 4626"/>
                <a:gd name="T5" fmla="*/ 348 h 6513"/>
                <a:gd name="T6" fmla="*/ 22 w 4626"/>
                <a:gd name="T7" fmla="*/ 332 h 6513"/>
                <a:gd name="T8" fmla="*/ 14 w 4626"/>
                <a:gd name="T9" fmla="*/ 263 h 6513"/>
                <a:gd name="T10" fmla="*/ 50 w 4626"/>
                <a:gd name="T11" fmla="*/ 231 h 6513"/>
                <a:gd name="T12" fmla="*/ 525 w 4626"/>
                <a:gd name="T13" fmla="*/ 86 h 6513"/>
                <a:gd name="T14" fmla="*/ 882 w 4626"/>
                <a:gd name="T15" fmla="*/ 23 h 6513"/>
                <a:gd name="T16" fmla="*/ 1193 w 4626"/>
                <a:gd name="T17" fmla="*/ 1 h 6513"/>
                <a:gd name="T18" fmla="*/ 1540 w 4626"/>
                <a:gd name="T19" fmla="*/ 10 h 6513"/>
                <a:gd name="T20" fmla="*/ 2322 w 4626"/>
                <a:gd name="T21" fmla="*/ 171 h 6513"/>
                <a:gd name="T22" fmla="*/ 3330 w 4626"/>
                <a:gd name="T23" fmla="*/ 717 h 6513"/>
                <a:gd name="T24" fmla="*/ 4284 w 4626"/>
                <a:gd name="T25" fmla="*/ 1901 h 6513"/>
                <a:gd name="T26" fmla="*/ 4560 w 4626"/>
                <a:gd name="T27" fmla="*/ 2723 h 6513"/>
                <a:gd name="T28" fmla="*/ 4622 w 4626"/>
                <a:gd name="T29" fmla="*/ 3283 h 6513"/>
                <a:gd name="T30" fmla="*/ 4608 w 4626"/>
                <a:gd name="T31" fmla="*/ 3698 h 6513"/>
                <a:gd name="T32" fmla="*/ 4431 w 4626"/>
                <a:gd name="T33" fmla="*/ 4483 h 6513"/>
                <a:gd name="T34" fmla="*/ 3909 w 4626"/>
                <a:gd name="T35" fmla="*/ 5428 h 6513"/>
                <a:gd name="T36" fmla="*/ 3430 w 4626"/>
                <a:gd name="T37" fmla="*/ 5930 h 6513"/>
                <a:gd name="T38" fmla="*/ 2503 w 4626"/>
                <a:gd name="T39" fmla="*/ 6497 h 6513"/>
                <a:gd name="T40" fmla="*/ 2414 w 4626"/>
                <a:gd name="T41" fmla="*/ 6465 h 6513"/>
                <a:gd name="T42" fmla="*/ 2457 w 4626"/>
                <a:gd name="T43" fmla="*/ 6380 h 6513"/>
                <a:gd name="T44" fmla="*/ 3267 w 4626"/>
                <a:gd name="T45" fmla="*/ 5901 h 6513"/>
                <a:gd name="T46" fmla="*/ 4195 w 4626"/>
                <a:gd name="T47" fmla="*/ 4725 h 6513"/>
                <a:gd name="T48" fmla="*/ 4448 w 4626"/>
                <a:gd name="T49" fmla="*/ 3941 h 6513"/>
                <a:gd name="T50" fmla="*/ 4498 w 4626"/>
                <a:gd name="T51" fmla="*/ 3427 h 6513"/>
                <a:gd name="T52" fmla="*/ 4480 w 4626"/>
                <a:gd name="T53" fmla="*/ 3032 h 6513"/>
                <a:gd name="T54" fmla="*/ 4173 w 4626"/>
                <a:gd name="T55" fmla="*/ 1960 h 6513"/>
                <a:gd name="T56" fmla="*/ 3689 w 4626"/>
                <a:gd name="T57" fmla="*/ 1231 h 6513"/>
                <a:gd name="T58" fmla="*/ 2644 w 4626"/>
                <a:gd name="T59" fmla="*/ 436 h 6513"/>
                <a:gd name="T60" fmla="*/ 1875 w 4626"/>
                <a:gd name="T61" fmla="*/ 182 h 6513"/>
                <a:gd name="T62" fmla="*/ 1408 w 4626"/>
                <a:gd name="T63" fmla="*/ 128 h 6513"/>
                <a:gd name="T64" fmla="*/ 1270 w 4626"/>
                <a:gd name="T65" fmla="*/ 127 h 6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26" h="6513">
                  <a:moveTo>
                    <a:pt x="1270" y="127"/>
                  </a:moveTo>
                  <a:cubicBezTo>
                    <a:pt x="928" y="124"/>
                    <a:pt x="594" y="180"/>
                    <a:pt x="269" y="286"/>
                  </a:cubicBezTo>
                  <a:cubicBezTo>
                    <a:pt x="210" y="305"/>
                    <a:pt x="153" y="328"/>
                    <a:pt x="95" y="348"/>
                  </a:cubicBezTo>
                  <a:cubicBezTo>
                    <a:pt x="66" y="358"/>
                    <a:pt x="39" y="353"/>
                    <a:pt x="22" y="332"/>
                  </a:cubicBezTo>
                  <a:cubicBezTo>
                    <a:pt x="5" y="311"/>
                    <a:pt x="0" y="286"/>
                    <a:pt x="14" y="263"/>
                  </a:cubicBezTo>
                  <a:cubicBezTo>
                    <a:pt x="22" y="250"/>
                    <a:pt x="36" y="237"/>
                    <a:pt x="50" y="231"/>
                  </a:cubicBezTo>
                  <a:cubicBezTo>
                    <a:pt x="205" y="171"/>
                    <a:pt x="363" y="120"/>
                    <a:pt x="525" y="86"/>
                  </a:cubicBezTo>
                  <a:cubicBezTo>
                    <a:pt x="643" y="61"/>
                    <a:pt x="762" y="39"/>
                    <a:pt x="882" y="23"/>
                  </a:cubicBezTo>
                  <a:cubicBezTo>
                    <a:pt x="985" y="10"/>
                    <a:pt x="1089" y="3"/>
                    <a:pt x="1193" y="1"/>
                  </a:cubicBezTo>
                  <a:cubicBezTo>
                    <a:pt x="1308" y="0"/>
                    <a:pt x="1424" y="1"/>
                    <a:pt x="1540" y="10"/>
                  </a:cubicBezTo>
                  <a:cubicBezTo>
                    <a:pt x="1807" y="31"/>
                    <a:pt x="2068" y="85"/>
                    <a:pt x="2322" y="171"/>
                  </a:cubicBezTo>
                  <a:cubicBezTo>
                    <a:pt x="2690" y="294"/>
                    <a:pt x="3026" y="476"/>
                    <a:pt x="3330" y="717"/>
                  </a:cubicBezTo>
                  <a:cubicBezTo>
                    <a:pt x="3737" y="1039"/>
                    <a:pt x="4055" y="1434"/>
                    <a:pt x="4284" y="1901"/>
                  </a:cubicBezTo>
                  <a:cubicBezTo>
                    <a:pt x="4412" y="2163"/>
                    <a:pt x="4503" y="2437"/>
                    <a:pt x="4560" y="2723"/>
                  </a:cubicBezTo>
                  <a:cubicBezTo>
                    <a:pt x="4597" y="2908"/>
                    <a:pt x="4617" y="3095"/>
                    <a:pt x="4622" y="3283"/>
                  </a:cubicBezTo>
                  <a:cubicBezTo>
                    <a:pt x="4626" y="3422"/>
                    <a:pt x="4622" y="3560"/>
                    <a:pt x="4608" y="3698"/>
                  </a:cubicBezTo>
                  <a:cubicBezTo>
                    <a:pt x="4582" y="3967"/>
                    <a:pt x="4523" y="4229"/>
                    <a:pt x="4431" y="4483"/>
                  </a:cubicBezTo>
                  <a:cubicBezTo>
                    <a:pt x="4308" y="4826"/>
                    <a:pt x="4133" y="5141"/>
                    <a:pt x="3909" y="5428"/>
                  </a:cubicBezTo>
                  <a:cubicBezTo>
                    <a:pt x="3766" y="5612"/>
                    <a:pt x="3606" y="5779"/>
                    <a:pt x="3430" y="5930"/>
                  </a:cubicBezTo>
                  <a:cubicBezTo>
                    <a:pt x="3151" y="6169"/>
                    <a:pt x="2842" y="6358"/>
                    <a:pt x="2503" y="6497"/>
                  </a:cubicBezTo>
                  <a:cubicBezTo>
                    <a:pt x="2464" y="6513"/>
                    <a:pt x="2429" y="6500"/>
                    <a:pt x="2414" y="6465"/>
                  </a:cubicBezTo>
                  <a:cubicBezTo>
                    <a:pt x="2400" y="6430"/>
                    <a:pt x="2416" y="6397"/>
                    <a:pt x="2457" y="6380"/>
                  </a:cubicBezTo>
                  <a:cubicBezTo>
                    <a:pt x="2750" y="6260"/>
                    <a:pt x="3020" y="6100"/>
                    <a:pt x="3267" y="5901"/>
                  </a:cubicBezTo>
                  <a:cubicBezTo>
                    <a:pt x="3666" y="5579"/>
                    <a:pt x="3976" y="5188"/>
                    <a:pt x="4195" y="4725"/>
                  </a:cubicBezTo>
                  <a:cubicBezTo>
                    <a:pt x="4314" y="4475"/>
                    <a:pt x="4398" y="4213"/>
                    <a:pt x="4448" y="3941"/>
                  </a:cubicBezTo>
                  <a:cubicBezTo>
                    <a:pt x="4479" y="3771"/>
                    <a:pt x="4496" y="3600"/>
                    <a:pt x="4498" y="3427"/>
                  </a:cubicBezTo>
                  <a:cubicBezTo>
                    <a:pt x="4499" y="3295"/>
                    <a:pt x="4494" y="3163"/>
                    <a:pt x="4480" y="3032"/>
                  </a:cubicBezTo>
                  <a:cubicBezTo>
                    <a:pt x="4439" y="2657"/>
                    <a:pt x="4338" y="2299"/>
                    <a:pt x="4173" y="1960"/>
                  </a:cubicBezTo>
                  <a:cubicBezTo>
                    <a:pt x="4044" y="1695"/>
                    <a:pt x="3883" y="1452"/>
                    <a:pt x="3689" y="1231"/>
                  </a:cubicBezTo>
                  <a:cubicBezTo>
                    <a:pt x="3394" y="895"/>
                    <a:pt x="3046" y="630"/>
                    <a:pt x="2644" y="436"/>
                  </a:cubicBezTo>
                  <a:cubicBezTo>
                    <a:pt x="2399" y="318"/>
                    <a:pt x="2142" y="234"/>
                    <a:pt x="1875" y="182"/>
                  </a:cubicBezTo>
                  <a:cubicBezTo>
                    <a:pt x="1721" y="152"/>
                    <a:pt x="1565" y="133"/>
                    <a:pt x="1408" y="128"/>
                  </a:cubicBezTo>
                  <a:cubicBezTo>
                    <a:pt x="1362" y="126"/>
                    <a:pt x="1316" y="127"/>
                    <a:pt x="1270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>
              <a:spLocks noEditPoints="1"/>
            </p:cNvSpPr>
            <p:nvPr/>
          </p:nvSpPr>
          <p:spPr bwMode="auto">
            <a:xfrm>
              <a:off x="3124200" y="3130550"/>
              <a:ext cx="247650" cy="331787"/>
            </a:xfrm>
            <a:custGeom>
              <a:avLst/>
              <a:gdLst>
                <a:gd name="T0" fmla="*/ 1 w 1959"/>
                <a:gd name="T1" fmla="*/ 1635 h 2626"/>
                <a:gd name="T2" fmla="*/ 166 w 1959"/>
                <a:gd name="T3" fmla="*/ 1091 h 2626"/>
                <a:gd name="T4" fmla="*/ 173 w 1959"/>
                <a:gd name="T5" fmla="*/ 1079 h 2626"/>
                <a:gd name="T6" fmla="*/ 202 w 1959"/>
                <a:gd name="T7" fmla="*/ 1015 h 2626"/>
                <a:gd name="T8" fmla="*/ 924 w 1959"/>
                <a:gd name="T9" fmla="*/ 45 h 2626"/>
                <a:gd name="T10" fmla="*/ 1036 w 1959"/>
                <a:gd name="T11" fmla="*/ 45 h 2626"/>
                <a:gd name="T12" fmla="*/ 1739 w 1959"/>
                <a:gd name="T13" fmla="*/ 1017 h 2626"/>
                <a:gd name="T14" fmla="*/ 1921 w 1959"/>
                <a:gd name="T15" fmla="*/ 1473 h 2626"/>
                <a:gd name="T16" fmla="*/ 1702 w 1959"/>
                <a:gd name="T17" fmla="*/ 2258 h 2626"/>
                <a:gd name="T18" fmla="*/ 1125 w 1959"/>
                <a:gd name="T19" fmla="*/ 2585 h 2626"/>
                <a:gd name="T20" fmla="*/ 373 w 1959"/>
                <a:gd name="T21" fmla="*/ 2392 h 2626"/>
                <a:gd name="T22" fmla="*/ 26 w 1959"/>
                <a:gd name="T23" fmla="*/ 1845 h 2626"/>
                <a:gd name="T24" fmla="*/ 1 w 1959"/>
                <a:gd name="T25" fmla="*/ 1635 h 2626"/>
                <a:gd name="T26" fmla="*/ 980 w 1959"/>
                <a:gd name="T27" fmla="*/ 182 h 2626"/>
                <a:gd name="T28" fmla="*/ 972 w 1959"/>
                <a:gd name="T29" fmla="*/ 192 h 2626"/>
                <a:gd name="T30" fmla="*/ 686 w 1959"/>
                <a:gd name="T31" fmla="*/ 576 h 2626"/>
                <a:gd name="T32" fmla="*/ 307 w 1959"/>
                <a:gd name="T33" fmla="*/ 1085 h 2626"/>
                <a:gd name="T34" fmla="*/ 298 w 1959"/>
                <a:gd name="T35" fmla="*/ 1104 h 2626"/>
                <a:gd name="T36" fmla="*/ 279 w 1959"/>
                <a:gd name="T37" fmla="*/ 1149 h 2626"/>
                <a:gd name="T38" fmla="*/ 182 w 1959"/>
                <a:gd name="T39" fmla="*/ 1316 h 2626"/>
                <a:gd name="T40" fmla="*/ 142 w 1959"/>
                <a:gd name="T41" fmla="*/ 1786 h 2626"/>
                <a:gd name="T42" fmla="*/ 431 w 1959"/>
                <a:gd name="T43" fmla="*/ 2277 h 2626"/>
                <a:gd name="T44" fmla="*/ 1130 w 1959"/>
                <a:gd name="T45" fmla="*/ 2456 h 2626"/>
                <a:gd name="T46" fmla="*/ 1701 w 1959"/>
                <a:gd name="T47" fmla="*/ 2036 h 2626"/>
                <a:gd name="T48" fmla="*/ 1783 w 1959"/>
                <a:gd name="T49" fmla="*/ 1414 h 2626"/>
                <a:gd name="T50" fmla="*/ 1666 w 1959"/>
                <a:gd name="T51" fmla="*/ 1132 h 2626"/>
                <a:gd name="T52" fmla="*/ 1187 w 1959"/>
                <a:gd name="T53" fmla="*/ 469 h 2626"/>
                <a:gd name="T54" fmla="*/ 980 w 1959"/>
                <a:gd name="T55" fmla="*/ 182 h 2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59" h="2626">
                  <a:moveTo>
                    <a:pt x="1" y="1635"/>
                  </a:moveTo>
                  <a:cubicBezTo>
                    <a:pt x="1" y="1425"/>
                    <a:pt x="51" y="1248"/>
                    <a:pt x="166" y="1091"/>
                  </a:cubicBezTo>
                  <a:cubicBezTo>
                    <a:pt x="169" y="1087"/>
                    <a:pt x="173" y="1083"/>
                    <a:pt x="173" y="1079"/>
                  </a:cubicBezTo>
                  <a:cubicBezTo>
                    <a:pt x="171" y="1053"/>
                    <a:pt x="188" y="1035"/>
                    <a:pt x="202" y="1015"/>
                  </a:cubicBezTo>
                  <a:cubicBezTo>
                    <a:pt x="443" y="692"/>
                    <a:pt x="683" y="368"/>
                    <a:pt x="924" y="45"/>
                  </a:cubicBezTo>
                  <a:cubicBezTo>
                    <a:pt x="957" y="1"/>
                    <a:pt x="1004" y="0"/>
                    <a:pt x="1036" y="45"/>
                  </a:cubicBezTo>
                  <a:cubicBezTo>
                    <a:pt x="1271" y="369"/>
                    <a:pt x="1504" y="693"/>
                    <a:pt x="1739" y="1017"/>
                  </a:cubicBezTo>
                  <a:cubicBezTo>
                    <a:pt x="1839" y="1154"/>
                    <a:pt x="1899" y="1306"/>
                    <a:pt x="1921" y="1473"/>
                  </a:cubicBezTo>
                  <a:cubicBezTo>
                    <a:pt x="1959" y="1764"/>
                    <a:pt x="1891" y="2030"/>
                    <a:pt x="1702" y="2258"/>
                  </a:cubicBezTo>
                  <a:cubicBezTo>
                    <a:pt x="1552" y="2438"/>
                    <a:pt x="1359" y="2550"/>
                    <a:pt x="1125" y="2585"/>
                  </a:cubicBezTo>
                  <a:cubicBezTo>
                    <a:pt x="848" y="2626"/>
                    <a:pt x="595" y="2563"/>
                    <a:pt x="373" y="2392"/>
                  </a:cubicBezTo>
                  <a:cubicBezTo>
                    <a:pt x="192" y="2253"/>
                    <a:pt x="78" y="2068"/>
                    <a:pt x="26" y="1845"/>
                  </a:cubicBezTo>
                  <a:cubicBezTo>
                    <a:pt x="9" y="1771"/>
                    <a:pt x="0" y="1695"/>
                    <a:pt x="1" y="1635"/>
                  </a:cubicBezTo>
                  <a:close/>
                  <a:moveTo>
                    <a:pt x="980" y="182"/>
                  </a:moveTo>
                  <a:cubicBezTo>
                    <a:pt x="977" y="186"/>
                    <a:pt x="974" y="189"/>
                    <a:pt x="972" y="192"/>
                  </a:cubicBezTo>
                  <a:cubicBezTo>
                    <a:pt x="876" y="320"/>
                    <a:pt x="781" y="448"/>
                    <a:pt x="686" y="576"/>
                  </a:cubicBezTo>
                  <a:cubicBezTo>
                    <a:pt x="559" y="746"/>
                    <a:pt x="433" y="915"/>
                    <a:pt x="307" y="1085"/>
                  </a:cubicBezTo>
                  <a:cubicBezTo>
                    <a:pt x="303" y="1091"/>
                    <a:pt x="301" y="1098"/>
                    <a:pt x="298" y="1104"/>
                  </a:cubicBezTo>
                  <a:cubicBezTo>
                    <a:pt x="292" y="1119"/>
                    <a:pt x="289" y="1137"/>
                    <a:pt x="279" y="1149"/>
                  </a:cubicBezTo>
                  <a:cubicBezTo>
                    <a:pt x="241" y="1201"/>
                    <a:pt x="206" y="1256"/>
                    <a:pt x="182" y="1316"/>
                  </a:cubicBezTo>
                  <a:cubicBezTo>
                    <a:pt x="122" y="1468"/>
                    <a:pt x="112" y="1626"/>
                    <a:pt x="142" y="1786"/>
                  </a:cubicBezTo>
                  <a:cubicBezTo>
                    <a:pt x="180" y="1984"/>
                    <a:pt x="275" y="2150"/>
                    <a:pt x="431" y="2277"/>
                  </a:cubicBezTo>
                  <a:cubicBezTo>
                    <a:pt x="636" y="2443"/>
                    <a:pt x="871" y="2504"/>
                    <a:pt x="1130" y="2456"/>
                  </a:cubicBezTo>
                  <a:cubicBezTo>
                    <a:pt x="1386" y="2409"/>
                    <a:pt x="1576" y="2264"/>
                    <a:pt x="1701" y="2036"/>
                  </a:cubicBezTo>
                  <a:cubicBezTo>
                    <a:pt x="1808" y="1840"/>
                    <a:pt x="1830" y="1631"/>
                    <a:pt x="1783" y="1414"/>
                  </a:cubicBezTo>
                  <a:cubicBezTo>
                    <a:pt x="1760" y="1313"/>
                    <a:pt x="1726" y="1216"/>
                    <a:pt x="1666" y="1132"/>
                  </a:cubicBezTo>
                  <a:cubicBezTo>
                    <a:pt x="1508" y="910"/>
                    <a:pt x="1347" y="690"/>
                    <a:pt x="1187" y="469"/>
                  </a:cubicBezTo>
                  <a:cubicBezTo>
                    <a:pt x="1118" y="373"/>
                    <a:pt x="1049" y="278"/>
                    <a:pt x="980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31" name="任意多边形: 形状 30"/>
            <p:cNvSpPr/>
            <p:nvPr/>
          </p:nvSpPr>
          <p:spPr bwMode="auto">
            <a:xfrm>
              <a:off x="2657475" y="3179763"/>
              <a:ext cx="136525" cy="387350"/>
            </a:xfrm>
            <a:custGeom>
              <a:avLst/>
              <a:gdLst>
                <a:gd name="T0" fmla="*/ 2 w 1083"/>
                <a:gd name="T1" fmla="*/ 735 h 3076"/>
                <a:gd name="T2" fmla="*/ 20 w 1083"/>
                <a:gd name="T3" fmla="*/ 393 h 3076"/>
                <a:gd name="T4" fmla="*/ 60 w 1083"/>
                <a:gd name="T5" fmla="*/ 59 h 3076"/>
                <a:gd name="T6" fmla="*/ 130 w 1083"/>
                <a:gd name="T7" fmla="*/ 3 h 3076"/>
                <a:gd name="T8" fmla="*/ 184 w 1083"/>
                <a:gd name="T9" fmla="*/ 68 h 3076"/>
                <a:gd name="T10" fmla="*/ 167 w 1083"/>
                <a:gd name="T11" fmla="*/ 201 h 3076"/>
                <a:gd name="T12" fmla="*/ 140 w 1083"/>
                <a:gd name="T13" fmla="*/ 457 h 3076"/>
                <a:gd name="T14" fmla="*/ 130 w 1083"/>
                <a:gd name="T15" fmla="*/ 816 h 3076"/>
                <a:gd name="T16" fmla="*/ 160 w 1083"/>
                <a:gd name="T17" fmla="*/ 1162 h 3076"/>
                <a:gd name="T18" fmla="*/ 348 w 1083"/>
                <a:gd name="T19" fmla="*/ 1876 h 3076"/>
                <a:gd name="T20" fmla="*/ 843 w 1083"/>
                <a:gd name="T21" fmla="*/ 2723 h 3076"/>
                <a:gd name="T22" fmla="*/ 1052 w 1083"/>
                <a:gd name="T23" fmla="*/ 2956 h 3076"/>
                <a:gd name="T24" fmla="*/ 1056 w 1083"/>
                <a:gd name="T25" fmla="*/ 3050 h 3076"/>
                <a:gd name="T26" fmla="*/ 963 w 1083"/>
                <a:gd name="T27" fmla="*/ 3044 h 3076"/>
                <a:gd name="T28" fmla="*/ 184 w 1083"/>
                <a:gd name="T29" fmla="*/ 1796 h 3076"/>
                <a:gd name="T30" fmla="*/ 49 w 1083"/>
                <a:gd name="T31" fmla="*/ 1270 h 3076"/>
                <a:gd name="T32" fmla="*/ 2 w 1083"/>
                <a:gd name="T33" fmla="*/ 735 h 30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3" h="3076">
                  <a:moveTo>
                    <a:pt x="2" y="735"/>
                  </a:moveTo>
                  <a:cubicBezTo>
                    <a:pt x="0" y="661"/>
                    <a:pt x="5" y="527"/>
                    <a:pt x="20" y="393"/>
                  </a:cubicBezTo>
                  <a:cubicBezTo>
                    <a:pt x="32" y="281"/>
                    <a:pt x="46" y="170"/>
                    <a:pt x="60" y="59"/>
                  </a:cubicBezTo>
                  <a:cubicBezTo>
                    <a:pt x="65" y="22"/>
                    <a:pt x="94" y="0"/>
                    <a:pt x="130" y="3"/>
                  </a:cubicBezTo>
                  <a:cubicBezTo>
                    <a:pt x="162" y="6"/>
                    <a:pt x="187" y="34"/>
                    <a:pt x="184" y="68"/>
                  </a:cubicBezTo>
                  <a:cubicBezTo>
                    <a:pt x="180" y="113"/>
                    <a:pt x="172" y="157"/>
                    <a:pt x="167" y="201"/>
                  </a:cubicBezTo>
                  <a:cubicBezTo>
                    <a:pt x="158" y="286"/>
                    <a:pt x="149" y="371"/>
                    <a:pt x="140" y="457"/>
                  </a:cubicBezTo>
                  <a:cubicBezTo>
                    <a:pt x="128" y="576"/>
                    <a:pt x="123" y="696"/>
                    <a:pt x="130" y="816"/>
                  </a:cubicBezTo>
                  <a:cubicBezTo>
                    <a:pt x="136" y="931"/>
                    <a:pt x="146" y="1047"/>
                    <a:pt x="160" y="1162"/>
                  </a:cubicBezTo>
                  <a:cubicBezTo>
                    <a:pt x="192" y="1408"/>
                    <a:pt x="257" y="1645"/>
                    <a:pt x="348" y="1876"/>
                  </a:cubicBezTo>
                  <a:cubicBezTo>
                    <a:pt x="469" y="2184"/>
                    <a:pt x="632" y="2468"/>
                    <a:pt x="843" y="2723"/>
                  </a:cubicBezTo>
                  <a:cubicBezTo>
                    <a:pt x="909" y="2803"/>
                    <a:pt x="982" y="2879"/>
                    <a:pt x="1052" y="2956"/>
                  </a:cubicBezTo>
                  <a:cubicBezTo>
                    <a:pt x="1081" y="2987"/>
                    <a:pt x="1083" y="3023"/>
                    <a:pt x="1056" y="3050"/>
                  </a:cubicBezTo>
                  <a:cubicBezTo>
                    <a:pt x="1031" y="3076"/>
                    <a:pt x="992" y="3074"/>
                    <a:pt x="963" y="3044"/>
                  </a:cubicBezTo>
                  <a:cubicBezTo>
                    <a:pt x="607" y="2688"/>
                    <a:pt x="351" y="2270"/>
                    <a:pt x="184" y="1796"/>
                  </a:cubicBezTo>
                  <a:cubicBezTo>
                    <a:pt x="124" y="1624"/>
                    <a:pt x="80" y="1449"/>
                    <a:pt x="49" y="1270"/>
                  </a:cubicBezTo>
                  <a:cubicBezTo>
                    <a:pt x="22" y="1113"/>
                    <a:pt x="6" y="955"/>
                    <a:pt x="2" y="7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32" name="任意多边形: 形状 31"/>
            <p:cNvSpPr/>
            <p:nvPr/>
          </p:nvSpPr>
          <p:spPr bwMode="auto">
            <a:xfrm>
              <a:off x="3297238" y="3000375"/>
              <a:ext cx="136525" cy="277812"/>
            </a:xfrm>
            <a:custGeom>
              <a:avLst/>
              <a:gdLst>
                <a:gd name="T0" fmla="*/ 1078 w 1078"/>
                <a:gd name="T1" fmla="*/ 2125 h 2194"/>
                <a:gd name="T2" fmla="*/ 1015 w 1078"/>
                <a:gd name="T3" fmla="*/ 2194 h 2194"/>
                <a:gd name="T4" fmla="*/ 952 w 1078"/>
                <a:gd name="T5" fmla="*/ 2124 h 2194"/>
                <a:gd name="T6" fmla="*/ 786 w 1078"/>
                <a:gd name="T7" fmla="*/ 1203 h 2194"/>
                <a:gd name="T8" fmla="*/ 367 w 1078"/>
                <a:gd name="T9" fmla="*/ 464 h 2194"/>
                <a:gd name="T10" fmla="*/ 44 w 1078"/>
                <a:gd name="T11" fmla="*/ 130 h 2194"/>
                <a:gd name="T12" fmla="*/ 11 w 1078"/>
                <a:gd name="T13" fmla="*/ 86 h 2194"/>
                <a:gd name="T14" fmla="*/ 38 w 1078"/>
                <a:gd name="T15" fmla="*/ 16 h 2194"/>
                <a:gd name="T16" fmla="*/ 115 w 1078"/>
                <a:gd name="T17" fmla="*/ 25 h 2194"/>
                <a:gd name="T18" fmla="*/ 335 w 1078"/>
                <a:gd name="T19" fmla="*/ 237 h 2194"/>
                <a:gd name="T20" fmla="*/ 927 w 1078"/>
                <a:gd name="T21" fmla="*/ 1227 h 2194"/>
                <a:gd name="T22" fmla="*/ 1049 w 1078"/>
                <a:gd name="T23" fmla="*/ 1735 h 2194"/>
                <a:gd name="T24" fmla="*/ 1076 w 1078"/>
                <a:gd name="T25" fmla="*/ 2097 h 2194"/>
                <a:gd name="T26" fmla="*/ 1078 w 1078"/>
                <a:gd name="T27" fmla="*/ 2125 h 2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8" h="2194">
                  <a:moveTo>
                    <a:pt x="1078" y="2125"/>
                  </a:moveTo>
                  <a:cubicBezTo>
                    <a:pt x="1077" y="2164"/>
                    <a:pt x="1051" y="2193"/>
                    <a:pt x="1015" y="2194"/>
                  </a:cubicBezTo>
                  <a:cubicBezTo>
                    <a:pt x="977" y="2194"/>
                    <a:pt x="952" y="2167"/>
                    <a:pt x="952" y="2124"/>
                  </a:cubicBezTo>
                  <a:cubicBezTo>
                    <a:pt x="950" y="1808"/>
                    <a:pt x="896" y="1500"/>
                    <a:pt x="786" y="1203"/>
                  </a:cubicBezTo>
                  <a:cubicBezTo>
                    <a:pt x="686" y="934"/>
                    <a:pt x="547" y="688"/>
                    <a:pt x="367" y="464"/>
                  </a:cubicBezTo>
                  <a:cubicBezTo>
                    <a:pt x="269" y="343"/>
                    <a:pt x="162" y="232"/>
                    <a:pt x="44" y="130"/>
                  </a:cubicBezTo>
                  <a:cubicBezTo>
                    <a:pt x="31" y="118"/>
                    <a:pt x="17" y="103"/>
                    <a:pt x="11" y="86"/>
                  </a:cubicBezTo>
                  <a:cubicBezTo>
                    <a:pt x="0" y="59"/>
                    <a:pt x="14" y="30"/>
                    <a:pt x="38" y="16"/>
                  </a:cubicBezTo>
                  <a:cubicBezTo>
                    <a:pt x="63" y="0"/>
                    <a:pt x="91" y="3"/>
                    <a:pt x="115" y="25"/>
                  </a:cubicBezTo>
                  <a:cubicBezTo>
                    <a:pt x="189" y="95"/>
                    <a:pt x="265" y="163"/>
                    <a:pt x="335" y="237"/>
                  </a:cubicBezTo>
                  <a:cubicBezTo>
                    <a:pt x="604" y="524"/>
                    <a:pt x="800" y="855"/>
                    <a:pt x="927" y="1227"/>
                  </a:cubicBezTo>
                  <a:cubicBezTo>
                    <a:pt x="984" y="1392"/>
                    <a:pt x="1024" y="1562"/>
                    <a:pt x="1049" y="1735"/>
                  </a:cubicBezTo>
                  <a:cubicBezTo>
                    <a:pt x="1066" y="1855"/>
                    <a:pt x="1076" y="1976"/>
                    <a:pt x="1076" y="2097"/>
                  </a:cubicBezTo>
                  <a:cubicBezTo>
                    <a:pt x="1076" y="2106"/>
                    <a:pt x="1077" y="2116"/>
                    <a:pt x="1078" y="2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33" name="任意多边形: 形状 32"/>
            <p:cNvSpPr/>
            <p:nvPr/>
          </p:nvSpPr>
          <p:spPr bwMode="auto">
            <a:xfrm>
              <a:off x="3246438" y="3333750"/>
              <a:ext cx="68263" cy="66675"/>
            </a:xfrm>
            <a:custGeom>
              <a:avLst/>
              <a:gdLst>
                <a:gd name="T0" fmla="*/ 92 w 540"/>
                <a:gd name="T1" fmla="*/ 527 h 529"/>
                <a:gd name="T2" fmla="*/ 16 w 540"/>
                <a:gd name="T3" fmla="*/ 489 h 529"/>
                <a:gd name="T4" fmla="*/ 76 w 540"/>
                <a:gd name="T5" fmla="*/ 403 h 529"/>
                <a:gd name="T6" fmla="*/ 324 w 540"/>
                <a:gd name="T7" fmla="*/ 300 h 529"/>
                <a:gd name="T8" fmla="*/ 414 w 540"/>
                <a:gd name="T9" fmla="*/ 67 h 529"/>
                <a:gd name="T10" fmla="*/ 458 w 540"/>
                <a:gd name="T11" fmla="*/ 7 h 529"/>
                <a:gd name="T12" fmla="*/ 528 w 540"/>
                <a:gd name="T13" fmla="*/ 33 h 529"/>
                <a:gd name="T14" fmla="*/ 539 w 540"/>
                <a:gd name="T15" fmla="*/ 72 h 529"/>
                <a:gd name="T16" fmla="*/ 432 w 540"/>
                <a:gd name="T17" fmla="*/ 368 h 529"/>
                <a:gd name="T18" fmla="*/ 144 w 540"/>
                <a:gd name="T19" fmla="*/ 523 h 529"/>
                <a:gd name="T20" fmla="*/ 118 w 540"/>
                <a:gd name="T21" fmla="*/ 527 h 529"/>
                <a:gd name="T22" fmla="*/ 92 w 540"/>
                <a:gd name="T23" fmla="*/ 52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0" h="529">
                  <a:moveTo>
                    <a:pt x="92" y="527"/>
                  </a:moveTo>
                  <a:cubicBezTo>
                    <a:pt x="51" y="529"/>
                    <a:pt x="27" y="517"/>
                    <a:pt x="16" y="489"/>
                  </a:cubicBezTo>
                  <a:cubicBezTo>
                    <a:pt x="0" y="447"/>
                    <a:pt x="30" y="404"/>
                    <a:pt x="76" y="403"/>
                  </a:cubicBezTo>
                  <a:cubicBezTo>
                    <a:pt x="172" y="401"/>
                    <a:pt x="257" y="370"/>
                    <a:pt x="324" y="300"/>
                  </a:cubicBezTo>
                  <a:cubicBezTo>
                    <a:pt x="386" y="235"/>
                    <a:pt x="412" y="156"/>
                    <a:pt x="414" y="67"/>
                  </a:cubicBezTo>
                  <a:cubicBezTo>
                    <a:pt x="415" y="38"/>
                    <a:pt x="433" y="14"/>
                    <a:pt x="458" y="7"/>
                  </a:cubicBezTo>
                  <a:cubicBezTo>
                    <a:pt x="485" y="0"/>
                    <a:pt x="514" y="9"/>
                    <a:pt x="528" y="33"/>
                  </a:cubicBezTo>
                  <a:cubicBezTo>
                    <a:pt x="535" y="45"/>
                    <a:pt x="540" y="59"/>
                    <a:pt x="539" y="72"/>
                  </a:cubicBezTo>
                  <a:cubicBezTo>
                    <a:pt x="536" y="183"/>
                    <a:pt x="504" y="283"/>
                    <a:pt x="432" y="368"/>
                  </a:cubicBezTo>
                  <a:cubicBezTo>
                    <a:pt x="356" y="457"/>
                    <a:pt x="259" y="507"/>
                    <a:pt x="144" y="523"/>
                  </a:cubicBezTo>
                  <a:cubicBezTo>
                    <a:pt x="135" y="524"/>
                    <a:pt x="127" y="526"/>
                    <a:pt x="118" y="527"/>
                  </a:cubicBezTo>
                  <a:cubicBezTo>
                    <a:pt x="109" y="527"/>
                    <a:pt x="101" y="527"/>
                    <a:pt x="92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spAutoFit/>
            </a:bodyPr>
            <a:lstStyle/>
            <a:p>
              <a:endParaRPr lang="zh-CN" altLang="en-US"/>
            </a:p>
          </p:txBody>
        </p:sp>
      </p:grpSp>
      <p:sp>
        <p:nvSpPr>
          <p:cNvPr id="34" name="任意多边形: 形状 33"/>
          <p:cNvSpPr>
            <a:spLocks noEditPoints="1"/>
          </p:cNvSpPr>
          <p:nvPr/>
        </p:nvSpPr>
        <p:spPr bwMode="auto">
          <a:xfrm>
            <a:off x="5249810" y="2847398"/>
            <a:ext cx="689482" cy="675436"/>
          </a:xfrm>
          <a:custGeom>
            <a:avLst/>
            <a:gdLst>
              <a:gd name="T0" fmla="*/ 3969 w 6878"/>
              <a:gd name="T1" fmla="*/ 6678 h 6729"/>
              <a:gd name="T2" fmla="*/ 4292 w 6878"/>
              <a:gd name="T3" fmla="*/ 5763 h 6729"/>
              <a:gd name="T4" fmla="*/ 3713 w 6878"/>
              <a:gd name="T5" fmla="*/ 5673 h 6729"/>
              <a:gd name="T6" fmla="*/ 2576 w 6878"/>
              <a:gd name="T7" fmla="*/ 6209 h 6729"/>
              <a:gd name="T8" fmla="*/ 1517 w 6878"/>
              <a:gd name="T9" fmla="*/ 5633 h 6729"/>
              <a:gd name="T10" fmla="*/ 638 w 6878"/>
              <a:gd name="T11" fmla="*/ 5126 h 6729"/>
              <a:gd name="T12" fmla="*/ 675 w 6878"/>
              <a:gd name="T13" fmla="*/ 3815 h 6729"/>
              <a:gd name="T14" fmla="*/ 2 w 6878"/>
              <a:gd name="T15" fmla="*/ 2854 h 6729"/>
              <a:gd name="T16" fmla="*/ 930 w 6878"/>
              <a:gd name="T17" fmla="*/ 1937 h 6729"/>
              <a:gd name="T18" fmla="*/ 649 w 6878"/>
              <a:gd name="T19" fmla="*/ 1236 h 6729"/>
              <a:gd name="T20" fmla="*/ 1586 w 6878"/>
              <a:gd name="T21" fmla="*/ 825 h 6729"/>
              <a:gd name="T22" fmla="*/ 2534 w 6878"/>
              <a:gd name="T23" fmla="*/ 318 h 6729"/>
              <a:gd name="T24" fmla="*/ 3713 w 6878"/>
              <a:gd name="T25" fmla="*/ 696 h 6729"/>
              <a:gd name="T26" fmla="*/ 4928 w 6878"/>
              <a:gd name="T27" fmla="*/ 46 h 6729"/>
              <a:gd name="T28" fmla="*/ 6036 w 6878"/>
              <a:gd name="T29" fmla="*/ 1979 h 6729"/>
              <a:gd name="T30" fmla="*/ 6323 w 6878"/>
              <a:gd name="T31" fmla="*/ 2959 h 6729"/>
              <a:gd name="T32" fmla="*/ 6876 w 6878"/>
              <a:gd name="T33" fmla="*/ 3101 h 6729"/>
              <a:gd name="T34" fmla="*/ 6797 w 6878"/>
              <a:gd name="T35" fmla="*/ 4087 h 6729"/>
              <a:gd name="T36" fmla="*/ 6692 w 6878"/>
              <a:gd name="T37" fmla="*/ 4754 h 6729"/>
              <a:gd name="T38" fmla="*/ 5574 w 6878"/>
              <a:gd name="T39" fmla="*/ 5887 h 6729"/>
              <a:gd name="T40" fmla="*/ 3579 w 6878"/>
              <a:gd name="T41" fmla="*/ 2316 h 6729"/>
              <a:gd name="T42" fmla="*/ 4201 w 6878"/>
              <a:gd name="T43" fmla="*/ 1038 h 6729"/>
              <a:gd name="T44" fmla="*/ 3583 w 6878"/>
              <a:gd name="T45" fmla="*/ 274 h 6729"/>
              <a:gd name="T46" fmla="*/ 2661 w 6878"/>
              <a:gd name="T47" fmla="*/ 759 h 6729"/>
              <a:gd name="T48" fmla="*/ 1379 w 6878"/>
              <a:gd name="T49" fmla="*/ 812 h 6729"/>
              <a:gd name="T50" fmla="*/ 726 w 6878"/>
              <a:gd name="T51" fmla="*/ 1352 h 6729"/>
              <a:gd name="T52" fmla="*/ 947 w 6878"/>
              <a:gd name="T53" fmla="*/ 2174 h 6729"/>
              <a:gd name="T54" fmla="*/ 127 w 6878"/>
              <a:gd name="T55" fmla="*/ 3515 h 6729"/>
              <a:gd name="T56" fmla="*/ 791 w 6878"/>
              <a:gd name="T57" fmla="*/ 3758 h 6729"/>
              <a:gd name="T58" fmla="*/ 754 w 6878"/>
              <a:gd name="T59" fmla="*/ 5066 h 6729"/>
              <a:gd name="T60" fmla="*/ 1849 w 6878"/>
              <a:gd name="T61" fmla="*/ 5218 h 6729"/>
              <a:gd name="T62" fmla="*/ 2706 w 6878"/>
              <a:gd name="T63" fmla="*/ 6164 h 6729"/>
              <a:gd name="T64" fmla="*/ 3588 w 6878"/>
              <a:gd name="T65" fmla="*/ 5607 h 6729"/>
              <a:gd name="T66" fmla="*/ 4176 w 6878"/>
              <a:gd name="T67" fmla="*/ 5173 h 6729"/>
              <a:gd name="T68" fmla="*/ 3998 w 6878"/>
              <a:gd name="T69" fmla="*/ 4305 h 6729"/>
              <a:gd name="T70" fmla="*/ 2378 w 6878"/>
              <a:gd name="T71" fmla="*/ 3832 h 6729"/>
              <a:gd name="T72" fmla="*/ 3579 w 6878"/>
              <a:gd name="T73" fmla="*/ 2316 h 6729"/>
              <a:gd name="T74" fmla="*/ 4336 w 6878"/>
              <a:gd name="T75" fmla="*/ 1078 h 6729"/>
              <a:gd name="T76" fmla="*/ 3793 w 6878"/>
              <a:gd name="T77" fmla="*/ 2125 h 6729"/>
              <a:gd name="T78" fmla="*/ 3544 w 6878"/>
              <a:gd name="T79" fmla="*/ 2943 h 6729"/>
              <a:gd name="T80" fmla="*/ 3586 w 6878"/>
              <a:gd name="T81" fmla="*/ 3634 h 6729"/>
              <a:gd name="T82" fmla="*/ 4359 w 6878"/>
              <a:gd name="T83" fmla="*/ 4276 h 6729"/>
              <a:gd name="T84" fmla="*/ 4796 w 6878"/>
              <a:gd name="T85" fmla="*/ 2835 h 6729"/>
              <a:gd name="T86" fmla="*/ 4794 w 6878"/>
              <a:gd name="T87" fmla="*/ 2682 h 6729"/>
              <a:gd name="T88" fmla="*/ 4853 w 6878"/>
              <a:gd name="T89" fmla="*/ 1835 h 6729"/>
              <a:gd name="T90" fmla="*/ 5438 w 6878"/>
              <a:gd name="T91" fmla="*/ 2365 h 6729"/>
              <a:gd name="T92" fmla="*/ 4935 w 6878"/>
              <a:gd name="T93" fmla="*/ 2861 h 6729"/>
              <a:gd name="T94" fmla="*/ 5574 w 6878"/>
              <a:gd name="T95" fmla="*/ 3326 h 6729"/>
              <a:gd name="T96" fmla="*/ 6002 w 6878"/>
              <a:gd name="T97" fmla="*/ 2269 h 6729"/>
              <a:gd name="T98" fmla="*/ 5668 w 6878"/>
              <a:gd name="T99" fmla="*/ 1580 h 6729"/>
              <a:gd name="T100" fmla="*/ 4422 w 6878"/>
              <a:gd name="T101" fmla="*/ 5556 h 6729"/>
              <a:gd name="T102" fmla="*/ 5567 w 6878"/>
              <a:gd name="T103" fmla="*/ 4424 h 6729"/>
              <a:gd name="T104" fmla="*/ 4511 w 6878"/>
              <a:gd name="T105" fmla="*/ 5650 h 6729"/>
              <a:gd name="T106" fmla="*/ 5848 w 6878"/>
              <a:gd name="T107" fmla="*/ 5659 h 6729"/>
              <a:gd name="T108" fmla="*/ 6587 w 6878"/>
              <a:gd name="T109" fmla="*/ 4671 h 6729"/>
              <a:gd name="T110" fmla="*/ 6688 w 6878"/>
              <a:gd name="T111" fmla="*/ 3823 h 6729"/>
              <a:gd name="T112" fmla="*/ 6721 w 6878"/>
              <a:gd name="T113" fmla="*/ 3179 h 6729"/>
              <a:gd name="T114" fmla="*/ 4766 w 6878"/>
              <a:gd name="T115" fmla="*/ 3937 h 6729"/>
              <a:gd name="T116" fmla="*/ 4331 w 6878"/>
              <a:gd name="T117" fmla="*/ 4737 h 6729"/>
              <a:gd name="T118" fmla="*/ 3571 w 6878"/>
              <a:gd name="T119" fmla="*/ 3923 h 6729"/>
              <a:gd name="T120" fmla="*/ 3396 w 6878"/>
              <a:gd name="T121" fmla="*/ 3144 h 6729"/>
              <a:gd name="T122" fmla="*/ 2445 w 6878"/>
              <a:gd name="T123" fmla="*/ 2657 h 6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878" h="6729">
                <a:moveTo>
                  <a:pt x="4443" y="5759"/>
                </a:moveTo>
                <a:cubicBezTo>
                  <a:pt x="4427" y="5784"/>
                  <a:pt x="4414" y="5806"/>
                  <a:pt x="4399" y="5829"/>
                </a:cubicBezTo>
                <a:cubicBezTo>
                  <a:pt x="4353" y="5901"/>
                  <a:pt x="4305" y="5972"/>
                  <a:pt x="4261" y="6045"/>
                </a:cubicBezTo>
                <a:cubicBezTo>
                  <a:pt x="4186" y="6171"/>
                  <a:pt x="4131" y="6306"/>
                  <a:pt x="4073" y="6440"/>
                </a:cubicBezTo>
                <a:cubicBezTo>
                  <a:pt x="4038" y="6519"/>
                  <a:pt x="4004" y="6599"/>
                  <a:pt x="3969" y="6678"/>
                </a:cubicBezTo>
                <a:cubicBezTo>
                  <a:pt x="3952" y="6717"/>
                  <a:pt x="3910" y="6729"/>
                  <a:pt x="3876" y="6707"/>
                </a:cubicBezTo>
                <a:cubicBezTo>
                  <a:pt x="3851" y="6690"/>
                  <a:pt x="3841" y="6658"/>
                  <a:pt x="3854" y="6627"/>
                </a:cubicBezTo>
                <a:cubicBezTo>
                  <a:pt x="3886" y="6554"/>
                  <a:pt x="3917" y="6481"/>
                  <a:pt x="3949" y="6408"/>
                </a:cubicBezTo>
                <a:cubicBezTo>
                  <a:pt x="4008" y="6273"/>
                  <a:pt x="4062" y="6136"/>
                  <a:pt x="4137" y="6009"/>
                </a:cubicBezTo>
                <a:cubicBezTo>
                  <a:pt x="4186" y="5925"/>
                  <a:pt x="4240" y="5845"/>
                  <a:pt x="4292" y="5763"/>
                </a:cubicBezTo>
                <a:cubicBezTo>
                  <a:pt x="4307" y="5740"/>
                  <a:pt x="4321" y="5717"/>
                  <a:pt x="4335" y="5693"/>
                </a:cubicBezTo>
                <a:cubicBezTo>
                  <a:pt x="4338" y="5688"/>
                  <a:pt x="4338" y="5678"/>
                  <a:pt x="4335" y="5673"/>
                </a:cubicBezTo>
                <a:cubicBezTo>
                  <a:pt x="4293" y="5609"/>
                  <a:pt x="4257" y="5543"/>
                  <a:pt x="4235" y="5469"/>
                </a:cubicBezTo>
                <a:cubicBezTo>
                  <a:pt x="4069" y="5553"/>
                  <a:pt x="3894" y="5606"/>
                  <a:pt x="3713" y="5651"/>
                </a:cubicBezTo>
                <a:cubicBezTo>
                  <a:pt x="3713" y="5659"/>
                  <a:pt x="3713" y="5666"/>
                  <a:pt x="3713" y="5673"/>
                </a:cubicBezTo>
                <a:cubicBezTo>
                  <a:pt x="3713" y="5805"/>
                  <a:pt x="3710" y="5936"/>
                  <a:pt x="3714" y="6067"/>
                </a:cubicBezTo>
                <a:cubicBezTo>
                  <a:pt x="3718" y="6182"/>
                  <a:pt x="3640" y="6271"/>
                  <a:pt x="3546" y="6303"/>
                </a:cubicBezTo>
                <a:cubicBezTo>
                  <a:pt x="3517" y="6312"/>
                  <a:pt x="3485" y="6318"/>
                  <a:pt x="3454" y="6319"/>
                </a:cubicBezTo>
                <a:cubicBezTo>
                  <a:pt x="3234" y="6320"/>
                  <a:pt x="3013" y="6320"/>
                  <a:pt x="2793" y="6319"/>
                </a:cubicBezTo>
                <a:cubicBezTo>
                  <a:pt x="2703" y="6319"/>
                  <a:pt x="2630" y="6281"/>
                  <a:pt x="2576" y="6209"/>
                </a:cubicBezTo>
                <a:cubicBezTo>
                  <a:pt x="2547" y="6170"/>
                  <a:pt x="2534" y="6125"/>
                  <a:pt x="2534" y="6076"/>
                </a:cubicBezTo>
                <a:cubicBezTo>
                  <a:pt x="2534" y="5936"/>
                  <a:pt x="2534" y="5796"/>
                  <a:pt x="2534" y="5654"/>
                </a:cubicBezTo>
                <a:cubicBezTo>
                  <a:pt x="2274" y="5594"/>
                  <a:pt x="2029" y="5497"/>
                  <a:pt x="1802" y="5340"/>
                </a:cubicBezTo>
                <a:cubicBezTo>
                  <a:pt x="1798" y="5346"/>
                  <a:pt x="1796" y="5354"/>
                  <a:pt x="1791" y="5359"/>
                </a:cubicBezTo>
                <a:cubicBezTo>
                  <a:pt x="1700" y="5451"/>
                  <a:pt x="1608" y="5542"/>
                  <a:pt x="1517" y="5633"/>
                </a:cubicBezTo>
                <a:cubicBezTo>
                  <a:pt x="1474" y="5677"/>
                  <a:pt x="1421" y="5697"/>
                  <a:pt x="1363" y="5704"/>
                </a:cubicBezTo>
                <a:cubicBezTo>
                  <a:pt x="1330" y="5708"/>
                  <a:pt x="1295" y="5705"/>
                  <a:pt x="1262" y="5701"/>
                </a:cubicBezTo>
                <a:cubicBezTo>
                  <a:pt x="1219" y="5695"/>
                  <a:pt x="1184" y="5672"/>
                  <a:pt x="1153" y="5642"/>
                </a:cubicBezTo>
                <a:cubicBezTo>
                  <a:pt x="999" y="5487"/>
                  <a:pt x="843" y="5332"/>
                  <a:pt x="688" y="5177"/>
                </a:cubicBezTo>
                <a:cubicBezTo>
                  <a:pt x="672" y="5160"/>
                  <a:pt x="653" y="5145"/>
                  <a:pt x="638" y="5126"/>
                </a:cubicBezTo>
                <a:cubicBezTo>
                  <a:pt x="564" y="5032"/>
                  <a:pt x="582" y="4891"/>
                  <a:pt x="676" y="4816"/>
                </a:cubicBezTo>
                <a:cubicBezTo>
                  <a:pt x="678" y="4815"/>
                  <a:pt x="680" y="4813"/>
                  <a:pt x="682" y="4811"/>
                </a:cubicBezTo>
                <a:cubicBezTo>
                  <a:pt x="781" y="4713"/>
                  <a:pt x="879" y="4614"/>
                  <a:pt x="977" y="4517"/>
                </a:cubicBezTo>
                <a:cubicBezTo>
                  <a:pt x="946" y="4465"/>
                  <a:pt x="914" y="4416"/>
                  <a:pt x="885" y="4364"/>
                </a:cubicBezTo>
                <a:cubicBezTo>
                  <a:pt x="788" y="4192"/>
                  <a:pt x="720" y="4007"/>
                  <a:pt x="675" y="3815"/>
                </a:cubicBezTo>
                <a:cubicBezTo>
                  <a:pt x="670" y="3794"/>
                  <a:pt x="664" y="3786"/>
                  <a:pt x="641" y="3786"/>
                </a:cubicBezTo>
                <a:cubicBezTo>
                  <a:pt x="511" y="3787"/>
                  <a:pt x="381" y="3783"/>
                  <a:pt x="251" y="3788"/>
                </a:cubicBezTo>
                <a:cubicBezTo>
                  <a:pt x="134" y="3792"/>
                  <a:pt x="43" y="3705"/>
                  <a:pt x="16" y="3611"/>
                </a:cubicBezTo>
                <a:cubicBezTo>
                  <a:pt x="7" y="3581"/>
                  <a:pt x="3" y="3549"/>
                  <a:pt x="3" y="3517"/>
                </a:cubicBezTo>
                <a:cubicBezTo>
                  <a:pt x="2" y="3296"/>
                  <a:pt x="4" y="3075"/>
                  <a:pt x="2" y="2854"/>
                </a:cubicBezTo>
                <a:cubicBezTo>
                  <a:pt x="0" y="2737"/>
                  <a:pt x="94" y="2630"/>
                  <a:pt x="205" y="2612"/>
                </a:cubicBezTo>
                <a:cubicBezTo>
                  <a:pt x="218" y="2610"/>
                  <a:pt x="232" y="2610"/>
                  <a:pt x="246" y="2610"/>
                </a:cubicBezTo>
                <a:cubicBezTo>
                  <a:pt x="380" y="2610"/>
                  <a:pt x="513" y="2610"/>
                  <a:pt x="646" y="2610"/>
                </a:cubicBezTo>
                <a:cubicBezTo>
                  <a:pt x="662" y="2610"/>
                  <a:pt x="668" y="2606"/>
                  <a:pt x="672" y="2589"/>
                </a:cubicBezTo>
                <a:cubicBezTo>
                  <a:pt x="721" y="2357"/>
                  <a:pt x="808" y="2140"/>
                  <a:pt x="930" y="1937"/>
                </a:cubicBezTo>
                <a:cubicBezTo>
                  <a:pt x="944" y="1913"/>
                  <a:pt x="958" y="1890"/>
                  <a:pt x="973" y="1867"/>
                </a:cubicBezTo>
                <a:cubicBezTo>
                  <a:pt x="979" y="1858"/>
                  <a:pt x="978" y="1853"/>
                  <a:pt x="970" y="1845"/>
                </a:cubicBezTo>
                <a:cubicBezTo>
                  <a:pt x="875" y="1750"/>
                  <a:pt x="781" y="1654"/>
                  <a:pt x="684" y="1561"/>
                </a:cubicBezTo>
                <a:cubicBezTo>
                  <a:pt x="651" y="1529"/>
                  <a:pt x="617" y="1499"/>
                  <a:pt x="603" y="1454"/>
                </a:cubicBezTo>
                <a:cubicBezTo>
                  <a:pt x="578" y="1373"/>
                  <a:pt x="596" y="1299"/>
                  <a:pt x="649" y="1236"/>
                </a:cubicBezTo>
                <a:cubicBezTo>
                  <a:pt x="690" y="1188"/>
                  <a:pt x="738" y="1147"/>
                  <a:pt x="784" y="1103"/>
                </a:cubicBezTo>
                <a:cubicBezTo>
                  <a:pt x="903" y="991"/>
                  <a:pt x="1022" y="879"/>
                  <a:pt x="1141" y="766"/>
                </a:cubicBezTo>
                <a:cubicBezTo>
                  <a:pt x="1158" y="750"/>
                  <a:pt x="1172" y="731"/>
                  <a:pt x="1190" y="716"/>
                </a:cubicBezTo>
                <a:cubicBezTo>
                  <a:pt x="1268" y="653"/>
                  <a:pt x="1370" y="650"/>
                  <a:pt x="1455" y="712"/>
                </a:cubicBezTo>
                <a:cubicBezTo>
                  <a:pt x="1502" y="745"/>
                  <a:pt x="1543" y="787"/>
                  <a:pt x="1586" y="825"/>
                </a:cubicBezTo>
                <a:cubicBezTo>
                  <a:pt x="1656" y="889"/>
                  <a:pt x="1726" y="954"/>
                  <a:pt x="1796" y="1019"/>
                </a:cubicBezTo>
                <a:cubicBezTo>
                  <a:pt x="1803" y="1025"/>
                  <a:pt x="1809" y="1029"/>
                  <a:pt x="1820" y="1023"/>
                </a:cubicBezTo>
                <a:cubicBezTo>
                  <a:pt x="2036" y="896"/>
                  <a:pt x="2268" y="805"/>
                  <a:pt x="2506" y="729"/>
                </a:cubicBezTo>
                <a:cubicBezTo>
                  <a:pt x="2529" y="722"/>
                  <a:pt x="2535" y="713"/>
                  <a:pt x="2534" y="690"/>
                </a:cubicBezTo>
                <a:cubicBezTo>
                  <a:pt x="2533" y="566"/>
                  <a:pt x="2534" y="442"/>
                  <a:pt x="2534" y="318"/>
                </a:cubicBezTo>
                <a:cubicBezTo>
                  <a:pt x="2534" y="190"/>
                  <a:pt x="2607" y="91"/>
                  <a:pt x="2726" y="59"/>
                </a:cubicBezTo>
                <a:cubicBezTo>
                  <a:pt x="2747" y="53"/>
                  <a:pt x="2770" y="50"/>
                  <a:pt x="2793" y="50"/>
                </a:cubicBezTo>
                <a:cubicBezTo>
                  <a:pt x="3013" y="49"/>
                  <a:pt x="3234" y="49"/>
                  <a:pt x="3454" y="49"/>
                </a:cubicBezTo>
                <a:cubicBezTo>
                  <a:pt x="3600" y="49"/>
                  <a:pt x="3713" y="163"/>
                  <a:pt x="3713" y="309"/>
                </a:cubicBezTo>
                <a:cubicBezTo>
                  <a:pt x="3713" y="438"/>
                  <a:pt x="3713" y="567"/>
                  <a:pt x="3713" y="696"/>
                </a:cubicBezTo>
                <a:cubicBezTo>
                  <a:pt x="3713" y="703"/>
                  <a:pt x="3713" y="710"/>
                  <a:pt x="3713" y="717"/>
                </a:cubicBezTo>
                <a:cubicBezTo>
                  <a:pt x="3906" y="769"/>
                  <a:pt x="4091" y="838"/>
                  <a:pt x="4268" y="930"/>
                </a:cubicBezTo>
                <a:cubicBezTo>
                  <a:pt x="4304" y="872"/>
                  <a:pt x="4340" y="814"/>
                  <a:pt x="4376" y="757"/>
                </a:cubicBezTo>
                <a:cubicBezTo>
                  <a:pt x="4523" y="520"/>
                  <a:pt x="4670" y="283"/>
                  <a:pt x="4817" y="46"/>
                </a:cubicBezTo>
                <a:cubicBezTo>
                  <a:pt x="4845" y="0"/>
                  <a:pt x="4901" y="0"/>
                  <a:pt x="4928" y="46"/>
                </a:cubicBezTo>
                <a:cubicBezTo>
                  <a:pt x="5097" y="331"/>
                  <a:pt x="5266" y="615"/>
                  <a:pt x="5435" y="899"/>
                </a:cubicBezTo>
                <a:cubicBezTo>
                  <a:pt x="5518" y="1039"/>
                  <a:pt x="5601" y="1179"/>
                  <a:pt x="5682" y="1320"/>
                </a:cubicBezTo>
                <a:cubicBezTo>
                  <a:pt x="5713" y="1374"/>
                  <a:pt x="5737" y="1432"/>
                  <a:pt x="5766" y="1487"/>
                </a:cubicBezTo>
                <a:cubicBezTo>
                  <a:pt x="5806" y="1565"/>
                  <a:pt x="5847" y="1642"/>
                  <a:pt x="5890" y="1718"/>
                </a:cubicBezTo>
                <a:cubicBezTo>
                  <a:pt x="5938" y="1806"/>
                  <a:pt x="5987" y="1892"/>
                  <a:pt x="6036" y="1979"/>
                </a:cubicBezTo>
                <a:cubicBezTo>
                  <a:pt x="6038" y="1983"/>
                  <a:pt x="6042" y="1988"/>
                  <a:pt x="6043" y="1993"/>
                </a:cubicBezTo>
                <a:cubicBezTo>
                  <a:pt x="6052" y="2066"/>
                  <a:pt x="6093" y="2128"/>
                  <a:pt x="6112" y="2198"/>
                </a:cubicBezTo>
                <a:cubicBezTo>
                  <a:pt x="6131" y="2268"/>
                  <a:pt x="6157" y="2336"/>
                  <a:pt x="6180" y="2405"/>
                </a:cubicBezTo>
                <a:cubicBezTo>
                  <a:pt x="6208" y="2489"/>
                  <a:pt x="6242" y="2570"/>
                  <a:pt x="6264" y="2655"/>
                </a:cubicBezTo>
                <a:cubicBezTo>
                  <a:pt x="6289" y="2755"/>
                  <a:pt x="6306" y="2857"/>
                  <a:pt x="6323" y="2959"/>
                </a:cubicBezTo>
                <a:cubicBezTo>
                  <a:pt x="6331" y="3011"/>
                  <a:pt x="6331" y="3064"/>
                  <a:pt x="6335" y="3119"/>
                </a:cubicBezTo>
                <a:cubicBezTo>
                  <a:pt x="6362" y="3114"/>
                  <a:pt x="6390" y="3110"/>
                  <a:pt x="6418" y="3105"/>
                </a:cubicBezTo>
                <a:cubicBezTo>
                  <a:pt x="6530" y="3085"/>
                  <a:pt x="6642" y="3066"/>
                  <a:pt x="6754" y="3046"/>
                </a:cubicBezTo>
                <a:cubicBezTo>
                  <a:pt x="6773" y="3043"/>
                  <a:pt x="6793" y="3039"/>
                  <a:pt x="6813" y="3038"/>
                </a:cubicBezTo>
                <a:cubicBezTo>
                  <a:pt x="6850" y="3036"/>
                  <a:pt x="6878" y="3064"/>
                  <a:pt x="6876" y="3101"/>
                </a:cubicBezTo>
                <a:cubicBezTo>
                  <a:pt x="6872" y="3157"/>
                  <a:pt x="6867" y="3213"/>
                  <a:pt x="6862" y="3268"/>
                </a:cubicBezTo>
                <a:cubicBezTo>
                  <a:pt x="6856" y="3334"/>
                  <a:pt x="6849" y="3401"/>
                  <a:pt x="6843" y="3467"/>
                </a:cubicBezTo>
                <a:cubicBezTo>
                  <a:pt x="6837" y="3534"/>
                  <a:pt x="6831" y="3600"/>
                  <a:pt x="6825" y="3667"/>
                </a:cubicBezTo>
                <a:cubicBezTo>
                  <a:pt x="6820" y="3731"/>
                  <a:pt x="6816" y="3795"/>
                  <a:pt x="6811" y="3858"/>
                </a:cubicBezTo>
                <a:cubicBezTo>
                  <a:pt x="6806" y="3934"/>
                  <a:pt x="6801" y="4011"/>
                  <a:pt x="6797" y="4087"/>
                </a:cubicBezTo>
                <a:cubicBezTo>
                  <a:pt x="6794" y="4129"/>
                  <a:pt x="6795" y="4171"/>
                  <a:pt x="6791" y="4213"/>
                </a:cubicBezTo>
                <a:cubicBezTo>
                  <a:pt x="6788" y="4243"/>
                  <a:pt x="6786" y="4275"/>
                  <a:pt x="6775" y="4302"/>
                </a:cubicBezTo>
                <a:cubicBezTo>
                  <a:pt x="6757" y="4350"/>
                  <a:pt x="6755" y="4399"/>
                  <a:pt x="6747" y="4448"/>
                </a:cubicBezTo>
                <a:cubicBezTo>
                  <a:pt x="6732" y="4543"/>
                  <a:pt x="6737" y="4642"/>
                  <a:pt x="6699" y="4734"/>
                </a:cubicBezTo>
                <a:cubicBezTo>
                  <a:pt x="6697" y="4740"/>
                  <a:pt x="6694" y="4747"/>
                  <a:pt x="6692" y="4754"/>
                </a:cubicBezTo>
                <a:cubicBezTo>
                  <a:pt x="6647" y="4867"/>
                  <a:pt x="6605" y="4980"/>
                  <a:pt x="6557" y="5091"/>
                </a:cubicBezTo>
                <a:cubicBezTo>
                  <a:pt x="6509" y="5203"/>
                  <a:pt x="6441" y="5304"/>
                  <a:pt x="6364" y="5399"/>
                </a:cubicBezTo>
                <a:cubicBezTo>
                  <a:pt x="6329" y="5442"/>
                  <a:pt x="6295" y="5487"/>
                  <a:pt x="6258" y="5528"/>
                </a:cubicBezTo>
                <a:cubicBezTo>
                  <a:pt x="6178" y="5616"/>
                  <a:pt x="6079" y="5679"/>
                  <a:pt x="5976" y="5735"/>
                </a:cubicBezTo>
                <a:cubicBezTo>
                  <a:pt x="5849" y="5804"/>
                  <a:pt x="5716" y="5858"/>
                  <a:pt x="5574" y="5887"/>
                </a:cubicBezTo>
                <a:cubicBezTo>
                  <a:pt x="5472" y="5908"/>
                  <a:pt x="5369" y="5921"/>
                  <a:pt x="5265" y="5920"/>
                </a:cubicBezTo>
                <a:cubicBezTo>
                  <a:pt x="5182" y="5920"/>
                  <a:pt x="5099" y="5922"/>
                  <a:pt x="5016" y="5916"/>
                </a:cubicBezTo>
                <a:cubicBezTo>
                  <a:pt x="4882" y="5906"/>
                  <a:pt x="4753" y="5875"/>
                  <a:pt x="4628" y="5827"/>
                </a:cubicBezTo>
                <a:cubicBezTo>
                  <a:pt x="4567" y="5803"/>
                  <a:pt x="4505" y="5782"/>
                  <a:pt x="4443" y="5759"/>
                </a:cubicBezTo>
                <a:close/>
                <a:moveTo>
                  <a:pt x="3579" y="2316"/>
                </a:moveTo>
                <a:cubicBezTo>
                  <a:pt x="3606" y="2225"/>
                  <a:pt x="3659" y="2146"/>
                  <a:pt x="3676" y="2053"/>
                </a:cubicBezTo>
                <a:cubicBezTo>
                  <a:pt x="3682" y="2023"/>
                  <a:pt x="3701" y="1997"/>
                  <a:pt x="3715" y="1969"/>
                </a:cubicBezTo>
                <a:cubicBezTo>
                  <a:pt x="3812" y="1780"/>
                  <a:pt x="3907" y="1591"/>
                  <a:pt x="4005" y="1403"/>
                </a:cubicBezTo>
                <a:cubicBezTo>
                  <a:pt x="4062" y="1292"/>
                  <a:pt x="4121" y="1183"/>
                  <a:pt x="4180" y="1073"/>
                </a:cubicBezTo>
                <a:cubicBezTo>
                  <a:pt x="4186" y="1061"/>
                  <a:pt x="4194" y="1050"/>
                  <a:pt x="4201" y="1038"/>
                </a:cubicBezTo>
                <a:cubicBezTo>
                  <a:pt x="4194" y="1034"/>
                  <a:pt x="4189" y="1031"/>
                  <a:pt x="4184" y="1028"/>
                </a:cubicBezTo>
                <a:cubicBezTo>
                  <a:pt x="4013" y="943"/>
                  <a:pt x="3836" y="878"/>
                  <a:pt x="3652" y="832"/>
                </a:cubicBezTo>
                <a:cubicBezTo>
                  <a:pt x="3601" y="819"/>
                  <a:pt x="3588" y="803"/>
                  <a:pt x="3588" y="751"/>
                </a:cubicBezTo>
                <a:cubicBezTo>
                  <a:pt x="3588" y="607"/>
                  <a:pt x="3589" y="463"/>
                  <a:pt x="3588" y="319"/>
                </a:cubicBezTo>
                <a:cubicBezTo>
                  <a:pt x="3588" y="304"/>
                  <a:pt x="3587" y="289"/>
                  <a:pt x="3583" y="274"/>
                </a:cubicBezTo>
                <a:cubicBezTo>
                  <a:pt x="3566" y="210"/>
                  <a:pt x="3518" y="175"/>
                  <a:pt x="3444" y="175"/>
                </a:cubicBezTo>
                <a:cubicBezTo>
                  <a:pt x="3231" y="175"/>
                  <a:pt x="3018" y="175"/>
                  <a:pt x="2804" y="175"/>
                </a:cubicBezTo>
                <a:cubicBezTo>
                  <a:pt x="2774" y="175"/>
                  <a:pt x="2745" y="180"/>
                  <a:pt x="2719" y="197"/>
                </a:cubicBezTo>
                <a:cubicBezTo>
                  <a:pt x="2675" y="227"/>
                  <a:pt x="2660" y="270"/>
                  <a:pt x="2660" y="321"/>
                </a:cubicBezTo>
                <a:cubicBezTo>
                  <a:pt x="2661" y="467"/>
                  <a:pt x="2661" y="613"/>
                  <a:pt x="2661" y="759"/>
                </a:cubicBezTo>
                <a:cubicBezTo>
                  <a:pt x="2661" y="797"/>
                  <a:pt x="2645" y="817"/>
                  <a:pt x="2608" y="828"/>
                </a:cubicBezTo>
                <a:cubicBezTo>
                  <a:pt x="2338" y="912"/>
                  <a:pt x="2076" y="1012"/>
                  <a:pt x="1834" y="1161"/>
                </a:cubicBezTo>
                <a:cubicBezTo>
                  <a:pt x="1807" y="1178"/>
                  <a:pt x="1780" y="1174"/>
                  <a:pt x="1756" y="1151"/>
                </a:cubicBezTo>
                <a:cubicBezTo>
                  <a:pt x="1658" y="1062"/>
                  <a:pt x="1560" y="972"/>
                  <a:pt x="1463" y="883"/>
                </a:cubicBezTo>
                <a:cubicBezTo>
                  <a:pt x="1436" y="858"/>
                  <a:pt x="1409" y="832"/>
                  <a:pt x="1379" y="812"/>
                </a:cubicBezTo>
                <a:cubicBezTo>
                  <a:pt x="1342" y="787"/>
                  <a:pt x="1290" y="780"/>
                  <a:pt x="1253" y="833"/>
                </a:cubicBezTo>
                <a:cubicBezTo>
                  <a:pt x="1250" y="837"/>
                  <a:pt x="1246" y="841"/>
                  <a:pt x="1242" y="844"/>
                </a:cubicBezTo>
                <a:cubicBezTo>
                  <a:pt x="1194" y="890"/>
                  <a:pt x="1145" y="935"/>
                  <a:pt x="1097" y="981"/>
                </a:cubicBezTo>
                <a:cubicBezTo>
                  <a:pt x="986" y="1085"/>
                  <a:pt x="875" y="1189"/>
                  <a:pt x="766" y="1293"/>
                </a:cubicBezTo>
                <a:cubicBezTo>
                  <a:pt x="749" y="1309"/>
                  <a:pt x="736" y="1331"/>
                  <a:pt x="726" y="1352"/>
                </a:cubicBezTo>
                <a:cubicBezTo>
                  <a:pt x="708" y="1392"/>
                  <a:pt x="719" y="1425"/>
                  <a:pt x="753" y="1452"/>
                </a:cubicBezTo>
                <a:cubicBezTo>
                  <a:pt x="760" y="1458"/>
                  <a:pt x="766" y="1464"/>
                  <a:pt x="772" y="1470"/>
                </a:cubicBezTo>
                <a:cubicBezTo>
                  <a:pt x="881" y="1579"/>
                  <a:pt x="990" y="1688"/>
                  <a:pt x="1099" y="1797"/>
                </a:cubicBezTo>
                <a:cubicBezTo>
                  <a:pt x="1129" y="1827"/>
                  <a:pt x="1130" y="1853"/>
                  <a:pt x="1109" y="1889"/>
                </a:cubicBezTo>
                <a:cubicBezTo>
                  <a:pt x="1054" y="1984"/>
                  <a:pt x="996" y="2077"/>
                  <a:pt x="947" y="2174"/>
                </a:cubicBezTo>
                <a:cubicBezTo>
                  <a:pt x="866" y="2333"/>
                  <a:pt x="814" y="2503"/>
                  <a:pt x="783" y="2679"/>
                </a:cubicBezTo>
                <a:cubicBezTo>
                  <a:pt x="777" y="2714"/>
                  <a:pt x="752" y="2735"/>
                  <a:pt x="716" y="2735"/>
                </a:cubicBezTo>
                <a:cubicBezTo>
                  <a:pt x="560" y="2735"/>
                  <a:pt x="404" y="2735"/>
                  <a:pt x="248" y="2735"/>
                </a:cubicBezTo>
                <a:cubicBezTo>
                  <a:pt x="181" y="2735"/>
                  <a:pt x="127" y="2788"/>
                  <a:pt x="127" y="2856"/>
                </a:cubicBezTo>
                <a:cubicBezTo>
                  <a:pt x="127" y="3076"/>
                  <a:pt x="127" y="3296"/>
                  <a:pt x="127" y="3515"/>
                </a:cubicBezTo>
                <a:cubicBezTo>
                  <a:pt x="127" y="3531"/>
                  <a:pt x="129" y="3546"/>
                  <a:pt x="132" y="3561"/>
                </a:cubicBezTo>
                <a:cubicBezTo>
                  <a:pt x="144" y="3623"/>
                  <a:pt x="192" y="3662"/>
                  <a:pt x="256" y="3662"/>
                </a:cubicBezTo>
                <a:cubicBezTo>
                  <a:pt x="408" y="3662"/>
                  <a:pt x="561" y="3662"/>
                  <a:pt x="713" y="3662"/>
                </a:cubicBezTo>
                <a:cubicBezTo>
                  <a:pt x="753" y="3662"/>
                  <a:pt x="776" y="3681"/>
                  <a:pt x="783" y="3719"/>
                </a:cubicBezTo>
                <a:cubicBezTo>
                  <a:pt x="785" y="3732"/>
                  <a:pt x="788" y="3745"/>
                  <a:pt x="791" y="3758"/>
                </a:cubicBezTo>
                <a:cubicBezTo>
                  <a:pt x="850" y="4018"/>
                  <a:pt x="948" y="4261"/>
                  <a:pt x="1107" y="4478"/>
                </a:cubicBezTo>
                <a:cubicBezTo>
                  <a:pt x="1132" y="4513"/>
                  <a:pt x="1130" y="4541"/>
                  <a:pt x="1099" y="4572"/>
                </a:cubicBezTo>
                <a:cubicBezTo>
                  <a:pt x="990" y="4680"/>
                  <a:pt x="882" y="4789"/>
                  <a:pt x="773" y="4898"/>
                </a:cubicBezTo>
                <a:cubicBezTo>
                  <a:pt x="767" y="4904"/>
                  <a:pt x="762" y="4910"/>
                  <a:pt x="755" y="4914"/>
                </a:cubicBezTo>
                <a:cubicBezTo>
                  <a:pt x="709" y="4943"/>
                  <a:pt x="704" y="5032"/>
                  <a:pt x="754" y="5066"/>
                </a:cubicBezTo>
                <a:cubicBezTo>
                  <a:pt x="762" y="5072"/>
                  <a:pt x="769" y="5080"/>
                  <a:pt x="776" y="5087"/>
                </a:cubicBezTo>
                <a:cubicBezTo>
                  <a:pt x="928" y="5239"/>
                  <a:pt x="1080" y="5390"/>
                  <a:pt x="1231" y="5542"/>
                </a:cubicBezTo>
                <a:cubicBezTo>
                  <a:pt x="1284" y="5595"/>
                  <a:pt x="1378" y="5595"/>
                  <a:pt x="1432" y="5541"/>
                </a:cubicBezTo>
                <a:cubicBezTo>
                  <a:pt x="1537" y="5436"/>
                  <a:pt x="1642" y="5331"/>
                  <a:pt x="1747" y="5226"/>
                </a:cubicBezTo>
                <a:cubicBezTo>
                  <a:pt x="1782" y="5191"/>
                  <a:pt x="1809" y="5188"/>
                  <a:pt x="1849" y="5218"/>
                </a:cubicBezTo>
                <a:cubicBezTo>
                  <a:pt x="1940" y="5286"/>
                  <a:pt x="2037" y="5341"/>
                  <a:pt x="2140" y="5389"/>
                </a:cubicBezTo>
                <a:cubicBezTo>
                  <a:pt x="2286" y="5456"/>
                  <a:pt x="2438" y="5506"/>
                  <a:pt x="2596" y="5537"/>
                </a:cubicBezTo>
                <a:cubicBezTo>
                  <a:pt x="2645" y="5547"/>
                  <a:pt x="2661" y="5567"/>
                  <a:pt x="2661" y="5617"/>
                </a:cubicBezTo>
                <a:cubicBezTo>
                  <a:pt x="2661" y="5770"/>
                  <a:pt x="2661" y="5923"/>
                  <a:pt x="2660" y="6075"/>
                </a:cubicBezTo>
                <a:cubicBezTo>
                  <a:pt x="2660" y="6113"/>
                  <a:pt x="2676" y="6141"/>
                  <a:pt x="2706" y="6164"/>
                </a:cubicBezTo>
                <a:cubicBezTo>
                  <a:pt x="2737" y="6187"/>
                  <a:pt x="2772" y="6194"/>
                  <a:pt x="2810" y="6194"/>
                </a:cubicBezTo>
                <a:cubicBezTo>
                  <a:pt x="2988" y="6194"/>
                  <a:pt x="3166" y="6194"/>
                  <a:pt x="3344" y="6194"/>
                </a:cubicBezTo>
                <a:cubicBezTo>
                  <a:pt x="3385" y="6194"/>
                  <a:pt x="3427" y="6195"/>
                  <a:pt x="3468" y="6192"/>
                </a:cubicBezTo>
                <a:cubicBezTo>
                  <a:pt x="3528" y="6189"/>
                  <a:pt x="3591" y="6140"/>
                  <a:pt x="3589" y="6067"/>
                </a:cubicBezTo>
                <a:cubicBezTo>
                  <a:pt x="3586" y="5914"/>
                  <a:pt x="3588" y="5760"/>
                  <a:pt x="3588" y="5607"/>
                </a:cubicBezTo>
                <a:cubicBezTo>
                  <a:pt x="3588" y="5569"/>
                  <a:pt x="3604" y="5550"/>
                  <a:pt x="3640" y="5540"/>
                </a:cubicBezTo>
                <a:cubicBezTo>
                  <a:pt x="3709" y="5522"/>
                  <a:pt x="3778" y="5504"/>
                  <a:pt x="3846" y="5485"/>
                </a:cubicBezTo>
                <a:cubicBezTo>
                  <a:pt x="3967" y="5450"/>
                  <a:pt x="4084" y="5406"/>
                  <a:pt x="4196" y="5347"/>
                </a:cubicBezTo>
                <a:cubicBezTo>
                  <a:pt x="4206" y="5342"/>
                  <a:pt x="4213" y="5337"/>
                  <a:pt x="4208" y="5325"/>
                </a:cubicBezTo>
                <a:cubicBezTo>
                  <a:pt x="4188" y="5276"/>
                  <a:pt x="4182" y="5225"/>
                  <a:pt x="4176" y="5173"/>
                </a:cubicBezTo>
                <a:cubicBezTo>
                  <a:pt x="4165" y="5073"/>
                  <a:pt x="4162" y="4972"/>
                  <a:pt x="4179" y="4873"/>
                </a:cubicBezTo>
                <a:cubicBezTo>
                  <a:pt x="4199" y="4752"/>
                  <a:pt x="4228" y="4632"/>
                  <a:pt x="4256" y="4512"/>
                </a:cubicBezTo>
                <a:cubicBezTo>
                  <a:pt x="4266" y="4470"/>
                  <a:pt x="4281" y="4429"/>
                  <a:pt x="4295" y="4386"/>
                </a:cubicBezTo>
                <a:cubicBezTo>
                  <a:pt x="4263" y="4376"/>
                  <a:pt x="4233" y="4362"/>
                  <a:pt x="4203" y="4359"/>
                </a:cubicBezTo>
                <a:cubicBezTo>
                  <a:pt x="4131" y="4352"/>
                  <a:pt x="4063" y="4334"/>
                  <a:pt x="3998" y="4305"/>
                </a:cubicBezTo>
                <a:cubicBezTo>
                  <a:pt x="3873" y="4249"/>
                  <a:pt x="3772" y="4161"/>
                  <a:pt x="3681" y="4061"/>
                </a:cubicBezTo>
                <a:cubicBezTo>
                  <a:pt x="3669" y="4049"/>
                  <a:pt x="3659" y="4037"/>
                  <a:pt x="3648" y="4026"/>
                </a:cubicBezTo>
                <a:cubicBezTo>
                  <a:pt x="3607" y="4047"/>
                  <a:pt x="3567" y="4069"/>
                  <a:pt x="3527" y="4089"/>
                </a:cubicBezTo>
                <a:cubicBezTo>
                  <a:pt x="3347" y="4178"/>
                  <a:pt x="3159" y="4208"/>
                  <a:pt x="2960" y="4170"/>
                </a:cubicBezTo>
                <a:cubicBezTo>
                  <a:pt x="2726" y="4126"/>
                  <a:pt x="2531" y="4014"/>
                  <a:pt x="2378" y="3832"/>
                </a:cubicBezTo>
                <a:cubicBezTo>
                  <a:pt x="2173" y="3588"/>
                  <a:pt x="2095" y="3307"/>
                  <a:pt x="2154" y="2992"/>
                </a:cubicBezTo>
                <a:cubicBezTo>
                  <a:pt x="2199" y="2754"/>
                  <a:pt x="2324" y="2562"/>
                  <a:pt x="2515" y="2414"/>
                </a:cubicBezTo>
                <a:cubicBezTo>
                  <a:pt x="2666" y="2297"/>
                  <a:pt x="2837" y="2230"/>
                  <a:pt x="3027" y="2210"/>
                </a:cubicBezTo>
                <a:cubicBezTo>
                  <a:pt x="3121" y="2200"/>
                  <a:pt x="3214" y="2203"/>
                  <a:pt x="3307" y="2222"/>
                </a:cubicBezTo>
                <a:cubicBezTo>
                  <a:pt x="3401" y="2240"/>
                  <a:pt x="3489" y="2272"/>
                  <a:pt x="3579" y="2316"/>
                </a:cubicBezTo>
                <a:close/>
                <a:moveTo>
                  <a:pt x="4872" y="197"/>
                </a:moveTo>
                <a:cubicBezTo>
                  <a:pt x="4868" y="203"/>
                  <a:pt x="4864" y="207"/>
                  <a:pt x="4862" y="212"/>
                </a:cubicBezTo>
                <a:cubicBezTo>
                  <a:pt x="4700" y="473"/>
                  <a:pt x="4538" y="734"/>
                  <a:pt x="4376" y="996"/>
                </a:cubicBezTo>
                <a:cubicBezTo>
                  <a:pt x="4371" y="1003"/>
                  <a:pt x="4370" y="1013"/>
                  <a:pt x="4369" y="1021"/>
                </a:cubicBezTo>
                <a:cubicBezTo>
                  <a:pt x="4367" y="1046"/>
                  <a:pt x="4356" y="1064"/>
                  <a:pt x="4336" y="1078"/>
                </a:cubicBezTo>
                <a:cubicBezTo>
                  <a:pt x="4326" y="1084"/>
                  <a:pt x="4315" y="1093"/>
                  <a:pt x="4310" y="1103"/>
                </a:cubicBezTo>
                <a:cubicBezTo>
                  <a:pt x="4218" y="1271"/>
                  <a:pt x="4126" y="1438"/>
                  <a:pt x="4037" y="1607"/>
                </a:cubicBezTo>
                <a:cubicBezTo>
                  <a:pt x="3964" y="1747"/>
                  <a:pt x="3896" y="1889"/>
                  <a:pt x="3825" y="2030"/>
                </a:cubicBezTo>
                <a:cubicBezTo>
                  <a:pt x="3812" y="2057"/>
                  <a:pt x="3790" y="2080"/>
                  <a:pt x="3796" y="2114"/>
                </a:cubicBezTo>
                <a:cubicBezTo>
                  <a:pt x="3797" y="2117"/>
                  <a:pt x="3794" y="2121"/>
                  <a:pt x="3793" y="2125"/>
                </a:cubicBezTo>
                <a:cubicBezTo>
                  <a:pt x="3769" y="2182"/>
                  <a:pt x="3749" y="2242"/>
                  <a:pt x="3720" y="2297"/>
                </a:cubicBezTo>
                <a:cubicBezTo>
                  <a:pt x="3691" y="2352"/>
                  <a:pt x="3692" y="2418"/>
                  <a:pt x="3651" y="2467"/>
                </a:cubicBezTo>
                <a:cubicBezTo>
                  <a:pt x="3648" y="2470"/>
                  <a:pt x="3648" y="2476"/>
                  <a:pt x="3647" y="2480"/>
                </a:cubicBezTo>
                <a:cubicBezTo>
                  <a:pt x="3629" y="2542"/>
                  <a:pt x="3611" y="2602"/>
                  <a:pt x="3595" y="2664"/>
                </a:cubicBezTo>
                <a:cubicBezTo>
                  <a:pt x="3571" y="2755"/>
                  <a:pt x="3550" y="2848"/>
                  <a:pt x="3544" y="2943"/>
                </a:cubicBezTo>
                <a:cubicBezTo>
                  <a:pt x="3542" y="2978"/>
                  <a:pt x="3541" y="3013"/>
                  <a:pt x="3534" y="3048"/>
                </a:cubicBezTo>
                <a:cubicBezTo>
                  <a:pt x="3522" y="3112"/>
                  <a:pt x="3515" y="3177"/>
                  <a:pt x="3524" y="3242"/>
                </a:cubicBezTo>
                <a:cubicBezTo>
                  <a:pt x="3534" y="3317"/>
                  <a:pt x="3546" y="3392"/>
                  <a:pt x="3542" y="3468"/>
                </a:cubicBezTo>
                <a:cubicBezTo>
                  <a:pt x="3541" y="3478"/>
                  <a:pt x="3543" y="3489"/>
                  <a:pt x="3546" y="3499"/>
                </a:cubicBezTo>
                <a:cubicBezTo>
                  <a:pt x="3559" y="3544"/>
                  <a:pt x="3572" y="3589"/>
                  <a:pt x="3586" y="3634"/>
                </a:cubicBezTo>
                <a:cubicBezTo>
                  <a:pt x="3604" y="3696"/>
                  <a:pt x="3617" y="3759"/>
                  <a:pt x="3652" y="3815"/>
                </a:cubicBezTo>
                <a:cubicBezTo>
                  <a:pt x="3723" y="3931"/>
                  <a:pt x="3814" y="4030"/>
                  <a:pt x="3922" y="4114"/>
                </a:cubicBezTo>
                <a:cubicBezTo>
                  <a:pt x="3995" y="4170"/>
                  <a:pt x="4076" y="4214"/>
                  <a:pt x="4169" y="4227"/>
                </a:cubicBezTo>
                <a:cubicBezTo>
                  <a:pt x="4224" y="4235"/>
                  <a:pt x="4277" y="4248"/>
                  <a:pt x="4330" y="4266"/>
                </a:cubicBezTo>
                <a:cubicBezTo>
                  <a:pt x="4340" y="4269"/>
                  <a:pt x="4351" y="4273"/>
                  <a:pt x="4359" y="4276"/>
                </a:cubicBezTo>
                <a:cubicBezTo>
                  <a:pt x="4406" y="4207"/>
                  <a:pt x="4451" y="4138"/>
                  <a:pt x="4498" y="4072"/>
                </a:cubicBezTo>
                <a:cubicBezTo>
                  <a:pt x="4587" y="3947"/>
                  <a:pt x="4681" y="3827"/>
                  <a:pt x="4801" y="3729"/>
                </a:cubicBezTo>
                <a:cubicBezTo>
                  <a:pt x="4806" y="3725"/>
                  <a:pt x="4808" y="3715"/>
                  <a:pt x="4808" y="3708"/>
                </a:cubicBezTo>
                <a:cubicBezTo>
                  <a:pt x="4809" y="3424"/>
                  <a:pt x="4809" y="3140"/>
                  <a:pt x="4808" y="2857"/>
                </a:cubicBezTo>
                <a:cubicBezTo>
                  <a:pt x="4808" y="2849"/>
                  <a:pt x="4802" y="2839"/>
                  <a:pt x="4796" y="2835"/>
                </a:cubicBezTo>
                <a:cubicBezTo>
                  <a:pt x="4744" y="2799"/>
                  <a:pt x="4691" y="2765"/>
                  <a:pt x="4638" y="2730"/>
                </a:cubicBezTo>
                <a:cubicBezTo>
                  <a:pt x="4505" y="2643"/>
                  <a:pt x="4372" y="2555"/>
                  <a:pt x="4239" y="2468"/>
                </a:cubicBezTo>
                <a:cubicBezTo>
                  <a:pt x="4214" y="2452"/>
                  <a:pt x="4204" y="2424"/>
                  <a:pt x="4211" y="2399"/>
                </a:cubicBezTo>
                <a:cubicBezTo>
                  <a:pt x="4224" y="2353"/>
                  <a:pt x="4271" y="2338"/>
                  <a:pt x="4313" y="2366"/>
                </a:cubicBezTo>
                <a:cubicBezTo>
                  <a:pt x="4473" y="2471"/>
                  <a:pt x="4634" y="2577"/>
                  <a:pt x="4794" y="2682"/>
                </a:cubicBezTo>
                <a:cubicBezTo>
                  <a:pt x="4798" y="2685"/>
                  <a:pt x="4803" y="2686"/>
                  <a:pt x="4809" y="2689"/>
                </a:cubicBezTo>
                <a:cubicBezTo>
                  <a:pt x="4809" y="2679"/>
                  <a:pt x="4809" y="2672"/>
                  <a:pt x="4809" y="2664"/>
                </a:cubicBezTo>
                <a:cubicBezTo>
                  <a:pt x="4809" y="2414"/>
                  <a:pt x="4809" y="2163"/>
                  <a:pt x="4809" y="1913"/>
                </a:cubicBezTo>
                <a:cubicBezTo>
                  <a:pt x="4809" y="1907"/>
                  <a:pt x="4808" y="1901"/>
                  <a:pt x="4809" y="1895"/>
                </a:cubicBezTo>
                <a:cubicBezTo>
                  <a:pt x="4811" y="1865"/>
                  <a:pt x="4828" y="1843"/>
                  <a:pt x="4853" y="1835"/>
                </a:cubicBezTo>
                <a:cubicBezTo>
                  <a:pt x="4898" y="1822"/>
                  <a:pt x="4935" y="1853"/>
                  <a:pt x="4935" y="1902"/>
                </a:cubicBezTo>
                <a:cubicBezTo>
                  <a:pt x="4935" y="2157"/>
                  <a:pt x="4935" y="2411"/>
                  <a:pt x="4935" y="2666"/>
                </a:cubicBezTo>
                <a:cubicBezTo>
                  <a:pt x="4935" y="2674"/>
                  <a:pt x="4935" y="2681"/>
                  <a:pt x="4935" y="2692"/>
                </a:cubicBezTo>
                <a:cubicBezTo>
                  <a:pt x="4966" y="2672"/>
                  <a:pt x="4992" y="2655"/>
                  <a:pt x="5019" y="2638"/>
                </a:cubicBezTo>
                <a:cubicBezTo>
                  <a:pt x="5159" y="2547"/>
                  <a:pt x="5298" y="2455"/>
                  <a:pt x="5438" y="2365"/>
                </a:cubicBezTo>
                <a:cubicBezTo>
                  <a:pt x="5451" y="2357"/>
                  <a:pt x="5470" y="2352"/>
                  <a:pt x="5486" y="2353"/>
                </a:cubicBezTo>
                <a:cubicBezTo>
                  <a:pt x="5516" y="2356"/>
                  <a:pt x="5533" y="2376"/>
                  <a:pt x="5539" y="2405"/>
                </a:cubicBezTo>
                <a:cubicBezTo>
                  <a:pt x="5544" y="2429"/>
                  <a:pt x="5532" y="2454"/>
                  <a:pt x="5506" y="2470"/>
                </a:cubicBezTo>
                <a:cubicBezTo>
                  <a:pt x="5321" y="2591"/>
                  <a:pt x="5136" y="2712"/>
                  <a:pt x="4951" y="2833"/>
                </a:cubicBezTo>
                <a:cubicBezTo>
                  <a:pt x="4939" y="2840"/>
                  <a:pt x="4935" y="2848"/>
                  <a:pt x="4935" y="2861"/>
                </a:cubicBezTo>
                <a:cubicBezTo>
                  <a:pt x="4935" y="3113"/>
                  <a:pt x="4935" y="3364"/>
                  <a:pt x="4935" y="3615"/>
                </a:cubicBezTo>
                <a:cubicBezTo>
                  <a:pt x="4935" y="3621"/>
                  <a:pt x="4936" y="3627"/>
                  <a:pt x="4937" y="3635"/>
                </a:cubicBezTo>
                <a:cubicBezTo>
                  <a:pt x="4942" y="3633"/>
                  <a:pt x="4944" y="3632"/>
                  <a:pt x="4946" y="3630"/>
                </a:cubicBezTo>
                <a:cubicBezTo>
                  <a:pt x="5030" y="3585"/>
                  <a:pt x="5111" y="3536"/>
                  <a:pt x="5197" y="3495"/>
                </a:cubicBezTo>
                <a:cubicBezTo>
                  <a:pt x="5321" y="3436"/>
                  <a:pt x="5449" y="3384"/>
                  <a:pt x="5574" y="3326"/>
                </a:cubicBezTo>
                <a:cubicBezTo>
                  <a:pt x="5736" y="3252"/>
                  <a:pt x="5904" y="3197"/>
                  <a:pt x="6080" y="3166"/>
                </a:cubicBezTo>
                <a:cubicBezTo>
                  <a:pt x="6121" y="3158"/>
                  <a:pt x="6163" y="3149"/>
                  <a:pt x="6209" y="3140"/>
                </a:cubicBezTo>
                <a:cubicBezTo>
                  <a:pt x="6204" y="3077"/>
                  <a:pt x="6203" y="3016"/>
                  <a:pt x="6195" y="2955"/>
                </a:cubicBezTo>
                <a:cubicBezTo>
                  <a:pt x="6182" y="2845"/>
                  <a:pt x="6162" y="2737"/>
                  <a:pt x="6127" y="2632"/>
                </a:cubicBezTo>
                <a:cubicBezTo>
                  <a:pt x="6087" y="2510"/>
                  <a:pt x="6044" y="2389"/>
                  <a:pt x="6002" y="2269"/>
                </a:cubicBezTo>
                <a:cubicBezTo>
                  <a:pt x="5981" y="2211"/>
                  <a:pt x="5968" y="2150"/>
                  <a:pt x="5935" y="2097"/>
                </a:cubicBezTo>
                <a:cubicBezTo>
                  <a:pt x="5928" y="2086"/>
                  <a:pt x="5927" y="2071"/>
                  <a:pt x="5924" y="2057"/>
                </a:cubicBezTo>
                <a:cubicBezTo>
                  <a:pt x="5921" y="2045"/>
                  <a:pt x="5920" y="2032"/>
                  <a:pt x="5915" y="2021"/>
                </a:cubicBezTo>
                <a:cubicBezTo>
                  <a:pt x="5867" y="1935"/>
                  <a:pt x="5818" y="1849"/>
                  <a:pt x="5770" y="1762"/>
                </a:cubicBezTo>
                <a:cubicBezTo>
                  <a:pt x="5736" y="1702"/>
                  <a:pt x="5701" y="1641"/>
                  <a:pt x="5668" y="1580"/>
                </a:cubicBezTo>
                <a:cubicBezTo>
                  <a:pt x="5620" y="1487"/>
                  <a:pt x="5578" y="1390"/>
                  <a:pt x="5525" y="1300"/>
                </a:cubicBezTo>
                <a:cubicBezTo>
                  <a:pt x="5342" y="987"/>
                  <a:pt x="5155" y="675"/>
                  <a:pt x="4970" y="363"/>
                </a:cubicBezTo>
                <a:cubicBezTo>
                  <a:pt x="4937" y="308"/>
                  <a:pt x="4905" y="254"/>
                  <a:pt x="4872" y="197"/>
                </a:cubicBezTo>
                <a:close/>
                <a:moveTo>
                  <a:pt x="4415" y="5564"/>
                </a:moveTo>
                <a:cubicBezTo>
                  <a:pt x="4419" y="5560"/>
                  <a:pt x="4421" y="5558"/>
                  <a:pt x="4422" y="5556"/>
                </a:cubicBezTo>
                <a:cubicBezTo>
                  <a:pt x="4537" y="5377"/>
                  <a:pt x="4666" y="5210"/>
                  <a:pt x="4812" y="5055"/>
                </a:cubicBezTo>
                <a:cubicBezTo>
                  <a:pt x="4928" y="4931"/>
                  <a:pt x="5040" y="4804"/>
                  <a:pt x="5155" y="4679"/>
                </a:cubicBezTo>
                <a:cubicBezTo>
                  <a:pt x="5262" y="4564"/>
                  <a:pt x="5369" y="4451"/>
                  <a:pt x="5477" y="4337"/>
                </a:cubicBezTo>
                <a:cubicBezTo>
                  <a:pt x="5503" y="4309"/>
                  <a:pt x="5542" y="4308"/>
                  <a:pt x="5568" y="4332"/>
                </a:cubicBezTo>
                <a:cubicBezTo>
                  <a:pt x="5594" y="4356"/>
                  <a:pt x="5594" y="4396"/>
                  <a:pt x="5567" y="4424"/>
                </a:cubicBezTo>
                <a:cubicBezTo>
                  <a:pt x="5509" y="4487"/>
                  <a:pt x="5450" y="4550"/>
                  <a:pt x="5391" y="4612"/>
                </a:cubicBezTo>
                <a:cubicBezTo>
                  <a:pt x="5296" y="4714"/>
                  <a:pt x="5199" y="4814"/>
                  <a:pt x="5105" y="4916"/>
                </a:cubicBezTo>
                <a:cubicBezTo>
                  <a:pt x="5025" y="5004"/>
                  <a:pt x="4949" y="5097"/>
                  <a:pt x="4867" y="5183"/>
                </a:cubicBezTo>
                <a:cubicBezTo>
                  <a:pt x="4769" y="5286"/>
                  <a:pt x="4683" y="5398"/>
                  <a:pt x="4602" y="5514"/>
                </a:cubicBezTo>
                <a:cubicBezTo>
                  <a:pt x="4572" y="5559"/>
                  <a:pt x="4542" y="5604"/>
                  <a:pt x="4511" y="5650"/>
                </a:cubicBezTo>
                <a:cubicBezTo>
                  <a:pt x="4552" y="5665"/>
                  <a:pt x="4591" y="5676"/>
                  <a:pt x="4629" y="5692"/>
                </a:cubicBezTo>
                <a:cubicBezTo>
                  <a:pt x="4747" y="5741"/>
                  <a:pt x="4869" y="5777"/>
                  <a:pt x="4997" y="5787"/>
                </a:cubicBezTo>
                <a:cubicBezTo>
                  <a:pt x="5086" y="5795"/>
                  <a:pt x="5176" y="5797"/>
                  <a:pt x="5266" y="5795"/>
                </a:cubicBezTo>
                <a:cubicBezTo>
                  <a:pt x="5339" y="5793"/>
                  <a:pt x="5412" y="5786"/>
                  <a:pt x="5484" y="5775"/>
                </a:cubicBezTo>
                <a:cubicBezTo>
                  <a:pt x="5612" y="5757"/>
                  <a:pt x="5733" y="5716"/>
                  <a:pt x="5848" y="5659"/>
                </a:cubicBezTo>
                <a:cubicBezTo>
                  <a:pt x="5960" y="5604"/>
                  <a:pt x="6069" y="5544"/>
                  <a:pt x="6156" y="5452"/>
                </a:cubicBezTo>
                <a:cubicBezTo>
                  <a:pt x="6193" y="5414"/>
                  <a:pt x="6224" y="5370"/>
                  <a:pt x="6259" y="5328"/>
                </a:cubicBezTo>
                <a:cubicBezTo>
                  <a:pt x="6350" y="5218"/>
                  <a:pt x="6424" y="5097"/>
                  <a:pt x="6476" y="4964"/>
                </a:cubicBezTo>
                <a:cubicBezTo>
                  <a:pt x="6501" y="4899"/>
                  <a:pt x="6524" y="4833"/>
                  <a:pt x="6548" y="4768"/>
                </a:cubicBezTo>
                <a:cubicBezTo>
                  <a:pt x="6561" y="4735"/>
                  <a:pt x="6576" y="4704"/>
                  <a:pt x="6587" y="4671"/>
                </a:cubicBezTo>
                <a:cubicBezTo>
                  <a:pt x="6615" y="4592"/>
                  <a:pt x="6609" y="4508"/>
                  <a:pt x="6623" y="4427"/>
                </a:cubicBezTo>
                <a:cubicBezTo>
                  <a:pt x="6633" y="4372"/>
                  <a:pt x="6630" y="4314"/>
                  <a:pt x="6657" y="4262"/>
                </a:cubicBezTo>
                <a:cubicBezTo>
                  <a:pt x="6662" y="4253"/>
                  <a:pt x="6663" y="4241"/>
                  <a:pt x="6663" y="4230"/>
                </a:cubicBezTo>
                <a:cubicBezTo>
                  <a:pt x="6667" y="4172"/>
                  <a:pt x="6669" y="4114"/>
                  <a:pt x="6673" y="4056"/>
                </a:cubicBezTo>
                <a:cubicBezTo>
                  <a:pt x="6677" y="3979"/>
                  <a:pt x="6682" y="3901"/>
                  <a:pt x="6688" y="3823"/>
                </a:cubicBezTo>
                <a:cubicBezTo>
                  <a:pt x="6691" y="3776"/>
                  <a:pt x="6694" y="3728"/>
                  <a:pt x="6698" y="3680"/>
                </a:cubicBezTo>
                <a:cubicBezTo>
                  <a:pt x="6704" y="3616"/>
                  <a:pt x="6710" y="3552"/>
                  <a:pt x="6715" y="3488"/>
                </a:cubicBezTo>
                <a:cubicBezTo>
                  <a:pt x="6721" y="3421"/>
                  <a:pt x="6728" y="3354"/>
                  <a:pt x="6734" y="3287"/>
                </a:cubicBezTo>
                <a:cubicBezTo>
                  <a:pt x="6737" y="3251"/>
                  <a:pt x="6740" y="3214"/>
                  <a:pt x="6744" y="3177"/>
                </a:cubicBezTo>
                <a:cubicBezTo>
                  <a:pt x="6735" y="3178"/>
                  <a:pt x="6728" y="3178"/>
                  <a:pt x="6721" y="3179"/>
                </a:cubicBezTo>
                <a:cubicBezTo>
                  <a:pt x="6532" y="3212"/>
                  <a:pt x="6344" y="3244"/>
                  <a:pt x="6155" y="3279"/>
                </a:cubicBezTo>
                <a:cubicBezTo>
                  <a:pt x="6037" y="3300"/>
                  <a:pt x="5919" y="3325"/>
                  <a:pt x="5806" y="3367"/>
                </a:cubicBezTo>
                <a:cubicBezTo>
                  <a:pt x="5714" y="3402"/>
                  <a:pt x="5625" y="3444"/>
                  <a:pt x="5533" y="3479"/>
                </a:cubicBezTo>
                <a:cubicBezTo>
                  <a:pt x="5372" y="3543"/>
                  <a:pt x="5219" y="3625"/>
                  <a:pt x="5067" y="3706"/>
                </a:cubicBezTo>
                <a:cubicBezTo>
                  <a:pt x="4953" y="3767"/>
                  <a:pt x="4850" y="3839"/>
                  <a:pt x="4766" y="3937"/>
                </a:cubicBezTo>
                <a:cubicBezTo>
                  <a:pt x="4699" y="4015"/>
                  <a:pt x="4637" y="4097"/>
                  <a:pt x="4576" y="4180"/>
                </a:cubicBezTo>
                <a:cubicBezTo>
                  <a:pt x="4526" y="4247"/>
                  <a:pt x="4478" y="4316"/>
                  <a:pt x="4447" y="4394"/>
                </a:cubicBezTo>
                <a:cubicBezTo>
                  <a:pt x="4442" y="4404"/>
                  <a:pt x="4433" y="4412"/>
                  <a:pt x="4427" y="4421"/>
                </a:cubicBezTo>
                <a:cubicBezTo>
                  <a:pt x="4420" y="4430"/>
                  <a:pt x="4411" y="4438"/>
                  <a:pt x="4408" y="4448"/>
                </a:cubicBezTo>
                <a:cubicBezTo>
                  <a:pt x="4382" y="4544"/>
                  <a:pt x="4354" y="4640"/>
                  <a:pt x="4331" y="4737"/>
                </a:cubicBezTo>
                <a:cubicBezTo>
                  <a:pt x="4303" y="4853"/>
                  <a:pt x="4288" y="4971"/>
                  <a:pt x="4295" y="5091"/>
                </a:cubicBezTo>
                <a:cubicBezTo>
                  <a:pt x="4300" y="5169"/>
                  <a:pt x="4309" y="5247"/>
                  <a:pt x="4338" y="5321"/>
                </a:cubicBezTo>
                <a:cubicBezTo>
                  <a:pt x="4342" y="5330"/>
                  <a:pt x="4345" y="5340"/>
                  <a:pt x="4344" y="5350"/>
                </a:cubicBezTo>
                <a:cubicBezTo>
                  <a:pt x="4344" y="5428"/>
                  <a:pt x="4377" y="5496"/>
                  <a:pt x="4415" y="5564"/>
                </a:cubicBezTo>
                <a:close/>
                <a:moveTo>
                  <a:pt x="3571" y="3923"/>
                </a:moveTo>
                <a:cubicBezTo>
                  <a:pt x="3530" y="3863"/>
                  <a:pt x="3501" y="3800"/>
                  <a:pt x="3482" y="3732"/>
                </a:cubicBezTo>
                <a:cubicBezTo>
                  <a:pt x="3469" y="3682"/>
                  <a:pt x="3457" y="3632"/>
                  <a:pt x="3439" y="3583"/>
                </a:cubicBezTo>
                <a:cubicBezTo>
                  <a:pt x="3420" y="3529"/>
                  <a:pt x="3414" y="3474"/>
                  <a:pt x="3416" y="3417"/>
                </a:cubicBezTo>
                <a:cubicBezTo>
                  <a:pt x="3417" y="3392"/>
                  <a:pt x="3415" y="3366"/>
                  <a:pt x="3410" y="3340"/>
                </a:cubicBezTo>
                <a:cubicBezTo>
                  <a:pt x="3400" y="3275"/>
                  <a:pt x="3390" y="3210"/>
                  <a:pt x="3396" y="3144"/>
                </a:cubicBezTo>
                <a:cubicBezTo>
                  <a:pt x="3403" y="3074"/>
                  <a:pt x="3412" y="3004"/>
                  <a:pt x="3418" y="2934"/>
                </a:cubicBezTo>
                <a:cubicBezTo>
                  <a:pt x="3427" y="2828"/>
                  <a:pt x="3447" y="2725"/>
                  <a:pt x="3476" y="2622"/>
                </a:cubicBezTo>
                <a:cubicBezTo>
                  <a:pt x="3494" y="2559"/>
                  <a:pt x="3511" y="2496"/>
                  <a:pt x="3529" y="2433"/>
                </a:cubicBezTo>
                <a:cubicBezTo>
                  <a:pt x="3353" y="2340"/>
                  <a:pt x="3168" y="2308"/>
                  <a:pt x="2973" y="2344"/>
                </a:cubicBezTo>
                <a:cubicBezTo>
                  <a:pt x="2760" y="2385"/>
                  <a:pt x="2581" y="2487"/>
                  <a:pt x="2445" y="2657"/>
                </a:cubicBezTo>
                <a:cubicBezTo>
                  <a:pt x="2280" y="2865"/>
                  <a:pt x="2227" y="3102"/>
                  <a:pt x="2280" y="3360"/>
                </a:cubicBezTo>
                <a:cubicBezTo>
                  <a:pt x="2322" y="3565"/>
                  <a:pt x="2428" y="3734"/>
                  <a:pt x="2591" y="3865"/>
                </a:cubicBezTo>
                <a:cubicBezTo>
                  <a:pt x="2785" y="4020"/>
                  <a:pt x="3005" y="4089"/>
                  <a:pt x="3253" y="4049"/>
                </a:cubicBezTo>
                <a:cubicBezTo>
                  <a:pt x="3367" y="4031"/>
                  <a:pt x="3470" y="3981"/>
                  <a:pt x="3571" y="3923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7" name="矩形 46"/>
          <p:cNvSpPr/>
          <p:nvPr/>
        </p:nvSpPr>
        <p:spPr>
          <a:xfrm>
            <a:off x="4546344" y="5432445"/>
            <a:ext cx="225093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Harmo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of society</a:t>
            </a:r>
            <a:endParaRPr kumimoji="0" lang="zh-CN" altLang="en-US" sz="3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49" name="任意多边形: 形状 48"/>
          <p:cNvSpPr>
            <a:spLocks noEditPoints="1"/>
          </p:cNvSpPr>
          <p:nvPr/>
        </p:nvSpPr>
        <p:spPr bwMode="auto">
          <a:xfrm>
            <a:off x="7637970" y="3731062"/>
            <a:ext cx="726766" cy="736510"/>
          </a:xfrm>
          <a:custGeom>
            <a:avLst/>
            <a:gdLst>
              <a:gd name="T0" fmla="*/ 1592 w 6974"/>
              <a:gd name="T1" fmla="*/ 1068 h 7079"/>
              <a:gd name="T2" fmla="*/ 1979 w 6974"/>
              <a:gd name="T3" fmla="*/ 93 h 7079"/>
              <a:gd name="T4" fmla="*/ 2597 w 6974"/>
              <a:gd name="T5" fmla="*/ 983 h 7079"/>
              <a:gd name="T6" fmla="*/ 6929 w 6974"/>
              <a:gd name="T7" fmla="*/ 853 h 7079"/>
              <a:gd name="T8" fmla="*/ 6717 w 6974"/>
              <a:gd name="T9" fmla="*/ 1795 h 7079"/>
              <a:gd name="T10" fmla="*/ 6439 w 6974"/>
              <a:gd name="T11" fmla="*/ 4389 h 7079"/>
              <a:gd name="T12" fmla="*/ 5630 w 6974"/>
              <a:gd name="T13" fmla="*/ 5695 h 7079"/>
              <a:gd name="T14" fmla="*/ 3455 w 6974"/>
              <a:gd name="T15" fmla="*/ 6670 h 7079"/>
              <a:gd name="T16" fmla="*/ 1064 w 6974"/>
              <a:gd name="T17" fmla="*/ 6430 h 7079"/>
              <a:gd name="T18" fmla="*/ 1062 w 6974"/>
              <a:gd name="T19" fmla="*/ 6947 h 7079"/>
              <a:gd name="T20" fmla="*/ 102 w 6974"/>
              <a:gd name="T21" fmla="*/ 4756 h 7079"/>
              <a:gd name="T22" fmla="*/ 1602 w 6974"/>
              <a:gd name="T23" fmla="*/ 4279 h 7079"/>
              <a:gd name="T24" fmla="*/ 531 w 6974"/>
              <a:gd name="T25" fmla="*/ 1590 h 7079"/>
              <a:gd name="T26" fmla="*/ 1741 w 6974"/>
              <a:gd name="T27" fmla="*/ 1381 h 7079"/>
              <a:gd name="T28" fmla="*/ 1683 w 6974"/>
              <a:gd name="T29" fmla="*/ 4232 h 7079"/>
              <a:gd name="T30" fmla="*/ 3911 w 6974"/>
              <a:gd name="T31" fmla="*/ 4935 h 7079"/>
              <a:gd name="T32" fmla="*/ 3903 w 6974"/>
              <a:gd name="T33" fmla="*/ 5605 h 7079"/>
              <a:gd name="T34" fmla="*/ 4897 w 6974"/>
              <a:gd name="T35" fmla="*/ 5316 h 7079"/>
              <a:gd name="T36" fmla="*/ 6564 w 6974"/>
              <a:gd name="T37" fmla="*/ 3211 h 7079"/>
              <a:gd name="T38" fmla="*/ 6005 w 6974"/>
              <a:gd name="T39" fmla="*/ 3123 h 7079"/>
              <a:gd name="T40" fmla="*/ 5772 w 6974"/>
              <a:gd name="T41" fmla="*/ 3091 h 7079"/>
              <a:gd name="T42" fmla="*/ 6080 w 6974"/>
              <a:gd name="T43" fmla="*/ 3868 h 7079"/>
              <a:gd name="T44" fmla="*/ 5470 w 6974"/>
              <a:gd name="T45" fmla="*/ 4991 h 7079"/>
              <a:gd name="T46" fmla="*/ 4920 w 6974"/>
              <a:gd name="T47" fmla="*/ 4292 h 7079"/>
              <a:gd name="T48" fmla="*/ 4745 w 6974"/>
              <a:gd name="T49" fmla="*/ 3912 h 7079"/>
              <a:gd name="T50" fmla="*/ 4020 w 6974"/>
              <a:gd name="T51" fmla="*/ 3734 h 7079"/>
              <a:gd name="T52" fmla="*/ 3813 w 6974"/>
              <a:gd name="T53" fmla="*/ 2924 h 7079"/>
              <a:gd name="T54" fmla="*/ 4394 w 6974"/>
              <a:gd name="T55" fmla="*/ 2460 h 7079"/>
              <a:gd name="T56" fmla="*/ 5087 w 6974"/>
              <a:gd name="T57" fmla="*/ 2628 h 7079"/>
              <a:gd name="T58" fmla="*/ 5408 w 6974"/>
              <a:gd name="T59" fmla="*/ 2403 h 7079"/>
              <a:gd name="T60" fmla="*/ 4680 w 6974"/>
              <a:gd name="T61" fmla="*/ 2261 h 7079"/>
              <a:gd name="T62" fmla="*/ 4045 w 6974"/>
              <a:gd name="T63" fmla="*/ 2265 h 7079"/>
              <a:gd name="T64" fmla="*/ 4392 w 6974"/>
              <a:gd name="T65" fmla="*/ 2054 h 7079"/>
              <a:gd name="T66" fmla="*/ 3982 w 6974"/>
              <a:gd name="T67" fmla="*/ 1874 h 7079"/>
              <a:gd name="T68" fmla="*/ 4320 w 6974"/>
              <a:gd name="T69" fmla="*/ 1615 h 7079"/>
              <a:gd name="T70" fmla="*/ 4637 w 6974"/>
              <a:gd name="T71" fmla="*/ 1976 h 7079"/>
              <a:gd name="T72" fmla="*/ 4921 w 6974"/>
              <a:gd name="T73" fmla="*/ 1375 h 7079"/>
              <a:gd name="T74" fmla="*/ 5413 w 6974"/>
              <a:gd name="T75" fmla="*/ 1282 h 7079"/>
              <a:gd name="T76" fmla="*/ 5658 w 6974"/>
              <a:gd name="T77" fmla="*/ 1397 h 7079"/>
              <a:gd name="T78" fmla="*/ 2599 w 6974"/>
              <a:gd name="T79" fmla="*/ 1106 h 7079"/>
              <a:gd name="T80" fmla="*/ 2861 w 6974"/>
              <a:gd name="T81" fmla="*/ 2110 h 7079"/>
              <a:gd name="T82" fmla="*/ 2425 w 6974"/>
              <a:gd name="T83" fmla="*/ 3038 h 7079"/>
              <a:gd name="T84" fmla="*/ 1182 w 6974"/>
              <a:gd name="T85" fmla="*/ 6309 h 7079"/>
              <a:gd name="T86" fmla="*/ 3488 w 6974"/>
              <a:gd name="T87" fmla="*/ 6583 h 7079"/>
              <a:gd name="T88" fmla="*/ 5590 w 6974"/>
              <a:gd name="T89" fmla="*/ 5572 h 7079"/>
              <a:gd name="T90" fmla="*/ 4427 w 6974"/>
              <a:gd name="T91" fmla="*/ 5537 h 7079"/>
              <a:gd name="T92" fmla="*/ 2736 w 6974"/>
              <a:gd name="T93" fmla="*/ 5244 h 7079"/>
              <a:gd name="T94" fmla="*/ 4010 w 6974"/>
              <a:gd name="T95" fmla="*/ 5347 h 7079"/>
              <a:gd name="T96" fmla="*/ 2165 w 6974"/>
              <a:gd name="T97" fmla="*/ 4252 h 7079"/>
              <a:gd name="T98" fmla="*/ 2802 w 6974"/>
              <a:gd name="T99" fmla="*/ 2576 h 7079"/>
              <a:gd name="T100" fmla="*/ 1660 w 6974"/>
              <a:gd name="T101" fmla="*/ 2039 h 7079"/>
              <a:gd name="T102" fmla="*/ 2902 w 6974"/>
              <a:gd name="T103" fmla="*/ 2565 h 7079"/>
              <a:gd name="T104" fmla="*/ 2118 w 6974"/>
              <a:gd name="T105" fmla="*/ 1558 h 7079"/>
              <a:gd name="T106" fmla="*/ 866 w 6974"/>
              <a:gd name="T107" fmla="*/ 1535 h 7079"/>
              <a:gd name="T108" fmla="*/ 1481 w 6974"/>
              <a:gd name="T109" fmla="*/ 2776 h 7079"/>
              <a:gd name="T110" fmla="*/ 2553 w 6974"/>
              <a:gd name="T111" fmla="*/ 2931 h 7079"/>
              <a:gd name="T112" fmla="*/ 2415 w 6974"/>
              <a:gd name="T113" fmla="*/ 563 h 7079"/>
              <a:gd name="T114" fmla="*/ 1511 w 6974"/>
              <a:gd name="T115" fmla="*/ 152 h 7079"/>
              <a:gd name="T116" fmla="*/ 2399 w 6974"/>
              <a:gd name="T117" fmla="*/ 1333 h 7079"/>
              <a:gd name="T118" fmla="*/ 1989 w 6974"/>
              <a:gd name="T119" fmla="*/ 697 h 7079"/>
              <a:gd name="T120" fmla="*/ 6317 w 6974"/>
              <a:gd name="T121" fmla="*/ 1303 h 7079"/>
              <a:gd name="T122" fmla="*/ 6667 w 6974"/>
              <a:gd name="T123" fmla="*/ 1712 h 7079"/>
              <a:gd name="T124" fmla="*/ 6679 w 6974"/>
              <a:gd name="T125" fmla="*/ 954 h 70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974" h="7079">
                <a:moveTo>
                  <a:pt x="2574" y="1707"/>
                </a:moveTo>
                <a:cubicBezTo>
                  <a:pt x="2535" y="1623"/>
                  <a:pt x="2513" y="1531"/>
                  <a:pt x="2464" y="1451"/>
                </a:cubicBezTo>
                <a:cubicBezTo>
                  <a:pt x="2459" y="1443"/>
                  <a:pt x="2449" y="1437"/>
                  <a:pt x="2441" y="1435"/>
                </a:cubicBezTo>
                <a:cubicBezTo>
                  <a:pt x="2349" y="1418"/>
                  <a:pt x="2256" y="1405"/>
                  <a:pt x="2165" y="1385"/>
                </a:cubicBezTo>
                <a:cubicBezTo>
                  <a:pt x="2094" y="1370"/>
                  <a:pt x="2025" y="1345"/>
                  <a:pt x="1955" y="1325"/>
                </a:cubicBezTo>
                <a:cubicBezTo>
                  <a:pt x="1946" y="1322"/>
                  <a:pt x="1937" y="1319"/>
                  <a:pt x="1928" y="1318"/>
                </a:cubicBezTo>
                <a:cubicBezTo>
                  <a:pt x="1860" y="1304"/>
                  <a:pt x="1804" y="1267"/>
                  <a:pt x="1754" y="1221"/>
                </a:cubicBezTo>
                <a:cubicBezTo>
                  <a:pt x="1699" y="1171"/>
                  <a:pt x="1645" y="1120"/>
                  <a:pt x="1592" y="1068"/>
                </a:cubicBezTo>
                <a:cubicBezTo>
                  <a:pt x="1524" y="1001"/>
                  <a:pt x="1490" y="914"/>
                  <a:pt x="1464" y="826"/>
                </a:cubicBezTo>
                <a:cubicBezTo>
                  <a:pt x="1445" y="764"/>
                  <a:pt x="1428" y="701"/>
                  <a:pt x="1417" y="637"/>
                </a:cubicBezTo>
                <a:cubicBezTo>
                  <a:pt x="1404" y="555"/>
                  <a:pt x="1396" y="472"/>
                  <a:pt x="1391" y="389"/>
                </a:cubicBezTo>
                <a:cubicBezTo>
                  <a:pt x="1385" y="287"/>
                  <a:pt x="1404" y="187"/>
                  <a:pt x="1432" y="89"/>
                </a:cubicBezTo>
                <a:cubicBezTo>
                  <a:pt x="1435" y="77"/>
                  <a:pt x="1438" y="65"/>
                  <a:pt x="1442" y="52"/>
                </a:cubicBezTo>
                <a:cubicBezTo>
                  <a:pt x="1450" y="19"/>
                  <a:pt x="1465" y="9"/>
                  <a:pt x="1499" y="7"/>
                </a:cubicBezTo>
                <a:cubicBezTo>
                  <a:pt x="1598" y="0"/>
                  <a:pt x="1694" y="18"/>
                  <a:pt x="1788" y="44"/>
                </a:cubicBezTo>
                <a:cubicBezTo>
                  <a:pt x="1851" y="62"/>
                  <a:pt x="1917" y="72"/>
                  <a:pt x="1979" y="93"/>
                </a:cubicBezTo>
                <a:cubicBezTo>
                  <a:pt x="2021" y="106"/>
                  <a:pt x="2060" y="130"/>
                  <a:pt x="2100" y="151"/>
                </a:cubicBezTo>
                <a:cubicBezTo>
                  <a:pt x="2139" y="172"/>
                  <a:pt x="2176" y="194"/>
                  <a:pt x="2214" y="216"/>
                </a:cubicBezTo>
                <a:cubicBezTo>
                  <a:pt x="2220" y="219"/>
                  <a:pt x="2226" y="223"/>
                  <a:pt x="2230" y="227"/>
                </a:cubicBezTo>
                <a:cubicBezTo>
                  <a:pt x="2273" y="265"/>
                  <a:pt x="2316" y="304"/>
                  <a:pt x="2358" y="342"/>
                </a:cubicBezTo>
                <a:cubicBezTo>
                  <a:pt x="2411" y="388"/>
                  <a:pt x="2447" y="446"/>
                  <a:pt x="2485" y="503"/>
                </a:cubicBezTo>
                <a:cubicBezTo>
                  <a:pt x="2488" y="507"/>
                  <a:pt x="2490" y="513"/>
                  <a:pt x="2494" y="516"/>
                </a:cubicBezTo>
                <a:cubicBezTo>
                  <a:pt x="2543" y="552"/>
                  <a:pt x="2545" y="609"/>
                  <a:pt x="2557" y="661"/>
                </a:cubicBezTo>
                <a:cubicBezTo>
                  <a:pt x="2582" y="767"/>
                  <a:pt x="2594" y="875"/>
                  <a:pt x="2597" y="983"/>
                </a:cubicBezTo>
                <a:cubicBezTo>
                  <a:pt x="2598" y="986"/>
                  <a:pt x="2598" y="988"/>
                  <a:pt x="2598" y="992"/>
                </a:cubicBezTo>
                <a:cubicBezTo>
                  <a:pt x="3111" y="668"/>
                  <a:pt x="3668" y="529"/>
                  <a:pt x="4271" y="579"/>
                </a:cubicBezTo>
                <a:cubicBezTo>
                  <a:pt x="4875" y="630"/>
                  <a:pt x="5398" y="869"/>
                  <a:pt x="5846" y="1274"/>
                </a:cubicBezTo>
                <a:cubicBezTo>
                  <a:pt x="5882" y="1237"/>
                  <a:pt x="5916" y="1199"/>
                  <a:pt x="5953" y="1163"/>
                </a:cubicBezTo>
                <a:cubicBezTo>
                  <a:pt x="6005" y="1113"/>
                  <a:pt x="6062" y="1070"/>
                  <a:pt x="6128" y="1037"/>
                </a:cubicBezTo>
                <a:cubicBezTo>
                  <a:pt x="6186" y="1008"/>
                  <a:pt x="6240" y="971"/>
                  <a:pt x="6302" y="954"/>
                </a:cubicBezTo>
                <a:cubicBezTo>
                  <a:pt x="6425" y="921"/>
                  <a:pt x="6548" y="884"/>
                  <a:pt x="6674" y="862"/>
                </a:cubicBezTo>
                <a:cubicBezTo>
                  <a:pt x="6757" y="847"/>
                  <a:pt x="6844" y="854"/>
                  <a:pt x="6929" y="853"/>
                </a:cubicBezTo>
                <a:cubicBezTo>
                  <a:pt x="6956" y="853"/>
                  <a:pt x="6973" y="871"/>
                  <a:pt x="6973" y="900"/>
                </a:cubicBezTo>
                <a:cubicBezTo>
                  <a:pt x="6974" y="997"/>
                  <a:pt x="6974" y="1094"/>
                  <a:pt x="6973" y="1191"/>
                </a:cubicBezTo>
                <a:cubicBezTo>
                  <a:pt x="6973" y="1200"/>
                  <a:pt x="6970" y="1210"/>
                  <a:pt x="6966" y="1218"/>
                </a:cubicBezTo>
                <a:cubicBezTo>
                  <a:pt x="6954" y="1243"/>
                  <a:pt x="6943" y="1267"/>
                  <a:pt x="6941" y="1296"/>
                </a:cubicBezTo>
                <a:cubicBezTo>
                  <a:pt x="6934" y="1376"/>
                  <a:pt x="6905" y="1451"/>
                  <a:pt x="6880" y="1526"/>
                </a:cubicBezTo>
                <a:cubicBezTo>
                  <a:pt x="6861" y="1585"/>
                  <a:pt x="6847" y="1646"/>
                  <a:pt x="6810" y="1699"/>
                </a:cubicBezTo>
                <a:cubicBezTo>
                  <a:pt x="6788" y="1731"/>
                  <a:pt x="6764" y="1760"/>
                  <a:pt x="6731" y="1781"/>
                </a:cubicBezTo>
                <a:cubicBezTo>
                  <a:pt x="6726" y="1785"/>
                  <a:pt x="6720" y="1790"/>
                  <a:pt x="6717" y="1795"/>
                </a:cubicBezTo>
                <a:cubicBezTo>
                  <a:pt x="6660" y="1892"/>
                  <a:pt x="6576" y="1962"/>
                  <a:pt x="6489" y="2030"/>
                </a:cubicBezTo>
                <a:cubicBezTo>
                  <a:pt x="6475" y="2041"/>
                  <a:pt x="6462" y="2052"/>
                  <a:pt x="6448" y="2062"/>
                </a:cubicBezTo>
                <a:cubicBezTo>
                  <a:pt x="6438" y="2069"/>
                  <a:pt x="6438" y="2075"/>
                  <a:pt x="6443" y="2085"/>
                </a:cubicBezTo>
                <a:cubicBezTo>
                  <a:pt x="6521" y="2248"/>
                  <a:pt x="6582" y="2417"/>
                  <a:pt x="6625" y="2593"/>
                </a:cubicBezTo>
                <a:cubicBezTo>
                  <a:pt x="6652" y="2703"/>
                  <a:pt x="6671" y="2813"/>
                  <a:pt x="6684" y="2926"/>
                </a:cubicBezTo>
                <a:cubicBezTo>
                  <a:pt x="6700" y="3060"/>
                  <a:pt x="6703" y="3195"/>
                  <a:pt x="6699" y="3330"/>
                </a:cubicBezTo>
                <a:cubicBezTo>
                  <a:pt x="6695" y="3452"/>
                  <a:pt x="6681" y="3572"/>
                  <a:pt x="6660" y="3693"/>
                </a:cubicBezTo>
                <a:cubicBezTo>
                  <a:pt x="6619" y="3935"/>
                  <a:pt x="6545" y="4168"/>
                  <a:pt x="6439" y="4389"/>
                </a:cubicBezTo>
                <a:cubicBezTo>
                  <a:pt x="6353" y="4569"/>
                  <a:pt x="6247" y="4737"/>
                  <a:pt x="6122" y="4892"/>
                </a:cubicBezTo>
                <a:cubicBezTo>
                  <a:pt x="6023" y="5016"/>
                  <a:pt x="5913" y="5130"/>
                  <a:pt x="5792" y="5233"/>
                </a:cubicBezTo>
                <a:cubicBezTo>
                  <a:pt x="5737" y="5281"/>
                  <a:pt x="5678" y="5324"/>
                  <a:pt x="5620" y="5369"/>
                </a:cubicBezTo>
                <a:cubicBezTo>
                  <a:pt x="5615" y="5373"/>
                  <a:pt x="5610" y="5377"/>
                  <a:pt x="5604" y="5382"/>
                </a:cubicBezTo>
                <a:cubicBezTo>
                  <a:pt x="5638" y="5414"/>
                  <a:pt x="5660" y="5452"/>
                  <a:pt x="5670" y="5496"/>
                </a:cubicBezTo>
                <a:cubicBezTo>
                  <a:pt x="5673" y="5513"/>
                  <a:pt x="5680" y="5529"/>
                  <a:pt x="5683" y="5546"/>
                </a:cubicBezTo>
                <a:cubicBezTo>
                  <a:pt x="5685" y="5561"/>
                  <a:pt x="5686" y="5577"/>
                  <a:pt x="5684" y="5593"/>
                </a:cubicBezTo>
                <a:cubicBezTo>
                  <a:pt x="5679" y="5633"/>
                  <a:pt x="5659" y="5665"/>
                  <a:pt x="5630" y="5695"/>
                </a:cubicBezTo>
                <a:cubicBezTo>
                  <a:pt x="5568" y="5761"/>
                  <a:pt x="5496" y="5811"/>
                  <a:pt x="5420" y="5857"/>
                </a:cubicBezTo>
                <a:cubicBezTo>
                  <a:pt x="5108" y="6045"/>
                  <a:pt x="4798" y="6234"/>
                  <a:pt x="4488" y="6423"/>
                </a:cubicBezTo>
                <a:cubicBezTo>
                  <a:pt x="4389" y="6483"/>
                  <a:pt x="4290" y="6545"/>
                  <a:pt x="4190" y="6603"/>
                </a:cubicBezTo>
                <a:cubicBezTo>
                  <a:pt x="4131" y="6638"/>
                  <a:pt x="4068" y="6665"/>
                  <a:pt x="3998" y="6672"/>
                </a:cubicBezTo>
                <a:cubicBezTo>
                  <a:pt x="3978" y="6675"/>
                  <a:pt x="3958" y="6687"/>
                  <a:pt x="3938" y="6691"/>
                </a:cubicBezTo>
                <a:cubicBezTo>
                  <a:pt x="3906" y="6696"/>
                  <a:pt x="3873" y="6699"/>
                  <a:pt x="3841" y="6700"/>
                </a:cubicBezTo>
                <a:cubicBezTo>
                  <a:pt x="3793" y="6701"/>
                  <a:pt x="3745" y="6698"/>
                  <a:pt x="3697" y="6701"/>
                </a:cubicBezTo>
                <a:cubicBezTo>
                  <a:pt x="3614" y="6706"/>
                  <a:pt x="3535" y="6688"/>
                  <a:pt x="3455" y="6670"/>
                </a:cubicBezTo>
                <a:cubicBezTo>
                  <a:pt x="3214" y="6617"/>
                  <a:pt x="2973" y="6564"/>
                  <a:pt x="2733" y="6512"/>
                </a:cubicBezTo>
                <a:cubicBezTo>
                  <a:pt x="2531" y="6467"/>
                  <a:pt x="2329" y="6421"/>
                  <a:pt x="2127" y="6379"/>
                </a:cubicBezTo>
                <a:cubicBezTo>
                  <a:pt x="2041" y="6361"/>
                  <a:pt x="1953" y="6346"/>
                  <a:pt x="1864" y="6350"/>
                </a:cubicBezTo>
                <a:cubicBezTo>
                  <a:pt x="1776" y="6353"/>
                  <a:pt x="1688" y="6348"/>
                  <a:pt x="1600" y="6353"/>
                </a:cubicBezTo>
                <a:cubicBezTo>
                  <a:pt x="1538" y="6356"/>
                  <a:pt x="1475" y="6369"/>
                  <a:pt x="1413" y="6378"/>
                </a:cubicBezTo>
                <a:cubicBezTo>
                  <a:pt x="1408" y="6379"/>
                  <a:pt x="1402" y="6380"/>
                  <a:pt x="1397" y="6380"/>
                </a:cubicBezTo>
                <a:cubicBezTo>
                  <a:pt x="1319" y="6376"/>
                  <a:pt x="1242" y="6386"/>
                  <a:pt x="1167" y="6409"/>
                </a:cubicBezTo>
                <a:cubicBezTo>
                  <a:pt x="1134" y="6418"/>
                  <a:pt x="1100" y="6423"/>
                  <a:pt x="1064" y="6430"/>
                </a:cubicBezTo>
                <a:cubicBezTo>
                  <a:pt x="1071" y="6463"/>
                  <a:pt x="1077" y="6495"/>
                  <a:pt x="1083" y="6526"/>
                </a:cubicBezTo>
                <a:cubicBezTo>
                  <a:pt x="1114" y="6674"/>
                  <a:pt x="1146" y="6822"/>
                  <a:pt x="1177" y="6970"/>
                </a:cubicBezTo>
                <a:cubicBezTo>
                  <a:pt x="1182" y="6995"/>
                  <a:pt x="1168" y="7017"/>
                  <a:pt x="1141" y="7024"/>
                </a:cubicBezTo>
                <a:cubicBezTo>
                  <a:pt x="1078" y="7039"/>
                  <a:pt x="1013" y="7050"/>
                  <a:pt x="950" y="7068"/>
                </a:cubicBezTo>
                <a:cubicBezTo>
                  <a:pt x="913" y="7079"/>
                  <a:pt x="885" y="7074"/>
                  <a:pt x="858" y="7048"/>
                </a:cubicBezTo>
                <a:cubicBezTo>
                  <a:pt x="842" y="7033"/>
                  <a:pt x="823" y="7021"/>
                  <a:pt x="802" y="7005"/>
                </a:cubicBezTo>
                <a:cubicBezTo>
                  <a:pt x="849" y="6995"/>
                  <a:pt x="891" y="6985"/>
                  <a:pt x="934" y="6976"/>
                </a:cubicBezTo>
                <a:cubicBezTo>
                  <a:pt x="977" y="6966"/>
                  <a:pt x="1020" y="6956"/>
                  <a:pt x="1062" y="6947"/>
                </a:cubicBezTo>
                <a:cubicBezTo>
                  <a:pt x="1074" y="6945"/>
                  <a:pt x="1076" y="6939"/>
                  <a:pt x="1074" y="6929"/>
                </a:cubicBezTo>
                <a:cubicBezTo>
                  <a:pt x="1047" y="6801"/>
                  <a:pt x="1020" y="6672"/>
                  <a:pt x="993" y="6544"/>
                </a:cubicBezTo>
                <a:cubicBezTo>
                  <a:pt x="952" y="6349"/>
                  <a:pt x="911" y="6155"/>
                  <a:pt x="870" y="5960"/>
                </a:cubicBezTo>
                <a:cubicBezTo>
                  <a:pt x="834" y="5786"/>
                  <a:pt x="797" y="5611"/>
                  <a:pt x="761" y="5437"/>
                </a:cubicBezTo>
                <a:cubicBezTo>
                  <a:pt x="720" y="5242"/>
                  <a:pt x="679" y="5048"/>
                  <a:pt x="639" y="4853"/>
                </a:cubicBezTo>
                <a:cubicBezTo>
                  <a:pt x="626" y="4794"/>
                  <a:pt x="614" y="4735"/>
                  <a:pt x="602" y="4676"/>
                </a:cubicBezTo>
                <a:cubicBezTo>
                  <a:pt x="601" y="4671"/>
                  <a:pt x="598" y="4666"/>
                  <a:pt x="596" y="4661"/>
                </a:cubicBezTo>
                <a:cubicBezTo>
                  <a:pt x="431" y="4693"/>
                  <a:pt x="266" y="4724"/>
                  <a:pt x="102" y="4756"/>
                </a:cubicBezTo>
                <a:cubicBezTo>
                  <a:pt x="88" y="4759"/>
                  <a:pt x="74" y="4761"/>
                  <a:pt x="61" y="4764"/>
                </a:cubicBezTo>
                <a:cubicBezTo>
                  <a:pt x="35" y="4769"/>
                  <a:pt x="11" y="4753"/>
                  <a:pt x="5" y="4727"/>
                </a:cubicBezTo>
                <a:cubicBezTo>
                  <a:pt x="0" y="4702"/>
                  <a:pt x="15" y="4678"/>
                  <a:pt x="42" y="4673"/>
                </a:cubicBezTo>
                <a:cubicBezTo>
                  <a:pt x="139" y="4654"/>
                  <a:pt x="236" y="4635"/>
                  <a:pt x="333" y="4617"/>
                </a:cubicBezTo>
                <a:cubicBezTo>
                  <a:pt x="427" y="4599"/>
                  <a:pt x="521" y="4581"/>
                  <a:pt x="614" y="4563"/>
                </a:cubicBezTo>
                <a:cubicBezTo>
                  <a:pt x="653" y="4555"/>
                  <a:pt x="674" y="4569"/>
                  <a:pt x="682" y="4607"/>
                </a:cubicBezTo>
                <a:cubicBezTo>
                  <a:pt x="690" y="4646"/>
                  <a:pt x="698" y="4685"/>
                  <a:pt x="706" y="4724"/>
                </a:cubicBezTo>
                <a:cubicBezTo>
                  <a:pt x="1006" y="4576"/>
                  <a:pt x="1303" y="4428"/>
                  <a:pt x="1602" y="4279"/>
                </a:cubicBezTo>
                <a:cubicBezTo>
                  <a:pt x="1407" y="3823"/>
                  <a:pt x="1345" y="3345"/>
                  <a:pt x="1403" y="2850"/>
                </a:cubicBezTo>
                <a:cubicBezTo>
                  <a:pt x="1360" y="2823"/>
                  <a:pt x="1315" y="2797"/>
                  <a:pt x="1271" y="2769"/>
                </a:cubicBezTo>
                <a:cubicBezTo>
                  <a:pt x="1164" y="2699"/>
                  <a:pt x="1072" y="2611"/>
                  <a:pt x="985" y="2518"/>
                </a:cubicBezTo>
                <a:cubicBezTo>
                  <a:pt x="940" y="2470"/>
                  <a:pt x="898" y="2419"/>
                  <a:pt x="856" y="2369"/>
                </a:cubicBezTo>
                <a:cubicBezTo>
                  <a:pt x="840" y="2350"/>
                  <a:pt x="827" y="2328"/>
                  <a:pt x="816" y="2307"/>
                </a:cubicBezTo>
                <a:cubicBezTo>
                  <a:pt x="770" y="2216"/>
                  <a:pt x="726" y="2123"/>
                  <a:pt x="678" y="2033"/>
                </a:cubicBezTo>
                <a:cubicBezTo>
                  <a:pt x="634" y="1947"/>
                  <a:pt x="610" y="1853"/>
                  <a:pt x="579" y="1762"/>
                </a:cubicBezTo>
                <a:cubicBezTo>
                  <a:pt x="560" y="1706"/>
                  <a:pt x="546" y="1648"/>
                  <a:pt x="531" y="1590"/>
                </a:cubicBezTo>
                <a:cubicBezTo>
                  <a:pt x="522" y="1558"/>
                  <a:pt x="535" y="1536"/>
                  <a:pt x="566" y="1527"/>
                </a:cubicBezTo>
                <a:cubicBezTo>
                  <a:pt x="716" y="1485"/>
                  <a:pt x="865" y="1442"/>
                  <a:pt x="1016" y="1402"/>
                </a:cubicBezTo>
                <a:cubicBezTo>
                  <a:pt x="1059" y="1390"/>
                  <a:pt x="1105" y="1389"/>
                  <a:pt x="1149" y="1382"/>
                </a:cubicBezTo>
                <a:cubicBezTo>
                  <a:pt x="1197" y="1374"/>
                  <a:pt x="1245" y="1363"/>
                  <a:pt x="1293" y="1354"/>
                </a:cubicBezTo>
                <a:cubicBezTo>
                  <a:pt x="1302" y="1352"/>
                  <a:pt x="1312" y="1351"/>
                  <a:pt x="1321" y="1351"/>
                </a:cubicBezTo>
                <a:cubicBezTo>
                  <a:pt x="1380" y="1350"/>
                  <a:pt x="1438" y="1352"/>
                  <a:pt x="1497" y="1350"/>
                </a:cubicBezTo>
                <a:cubicBezTo>
                  <a:pt x="1555" y="1348"/>
                  <a:pt x="1610" y="1357"/>
                  <a:pt x="1666" y="1371"/>
                </a:cubicBezTo>
                <a:cubicBezTo>
                  <a:pt x="1690" y="1378"/>
                  <a:pt x="1716" y="1381"/>
                  <a:pt x="1741" y="1381"/>
                </a:cubicBezTo>
                <a:cubicBezTo>
                  <a:pt x="1876" y="1385"/>
                  <a:pt x="2005" y="1416"/>
                  <a:pt x="2134" y="1461"/>
                </a:cubicBezTo>
                <a:cubicBezTo>
                  <a:pt x="2261" y="1504"/>
                  <a:pt x="2372" y="1573"/>
                  <a:pt x="2484" y="1641"/>
                </a:cubicBezTo>
                <a:cubicBezTo>
                  <a:pt x="2515" y="1660"/>
                  <a:pt x="2543" y="1685"/>
                  <a:pt x="2574" y="1707"/>
                </a:cubicBezTo>
                <a:close/>
                <a:moveTo>
                  <a:pt x="1493" y="2892"/>
                </a:moveTo>
                <a:cubicBezTo>
                  <a:pt x="1490" y="2909"/>
                  <a:pt x="1487" y="2923"/>
                  <a:pt x="1487" y="2936"/>
                </a:cubicBezTo>
                <a:cubicBezTo>
                  <a:pt x="1483" y="3046"/>
                  <a:pt x="1478" y="3156"/>
                  <a:pt x="1477" y="3265"/>
                </a:cubicBezTo>
                <a:cubicBezTo>
                  <a:pt x="1476" y="3397"/>
                  <a:pt x="1491" y="3526"/>
                  <a:pt x="1514" y="3656"/>
                </a:cubicBezTo>
                <a:cubicBezTo>
                  <a:pt x="1548" y="3855"/>
                  <a:pt x="1605" y="4047"/>
                  <a:pt x="1683" y="4232"/>
                </a:cubicBezTo>
                <a:cubicBezTo>
                  <a:pt x="1690" y="4250"/>
                  <a:pt x="1697" y="4254"/>
                  <a:pt x="1716" y="4248"/>
                </a:cubicBezTo>
                <a:cubicBezTo>
                  <a:pt x="1802" y="4217"/>
                  <a:pt x="1890" y="4194"/>
                  <a:pt x="1982" y="4184"/>
                </a:cubicBezTo>
                <a:cubicBezTo>
                  <a:pt x="2023" y="4180"/>
                  <a:pt x="2064" y="4176"/>
                  <a:pt x="2104" y="4168"/>
                </a:cubicBezTo>
                <a:cubicBezTo>
                  <a:pt x="2157" y="4157"/>
                  <a:pt x="2210" y="4152"/>
                  <a:pt x="2264" y="4161"/>
                </a:cubicBezTo>
                <a:cubicBezTo>
                  <a:pt x="2287" y="4165"/>
                  <a:pt x="2310" y="4176"/>
                  <a:pt x="2333" y="4178"/>
                </a:cubicBezTo>
                <a:cubicBezTo>
                  <a:pt x="2462" y="4185"/>
                  <a:pt x="2584" y="4217"/>
                  <a:pt x="2699" y="4278"/>
                </a:cubicBezTo>
                <a:cubicBezTo>
                  <a:pt x="3067" y="4476"/>
                  <a:pt x="3436" y="4672"/>
                  <a:pt x="3804" y="4870"/>
                </a:cubicBezTo>
                <a:cubicBezTo>
                  <a:pt x="3841" y="4890"/>
                  <a:pt x="3880" y="4908"/>
                  <a:pt x="3911" y="4935"/>
                </a:cubicBezTo>
                <a:cubicBezTo>
                  <a:pt x="3967" y="4985"/>
                  <a:pt x="4018" y="5040"/>
                  <a:pt x="4071" y="5094"/>
                </a:cubicBezTo>
                <a:cubicBezTo>
                  <a:pt x="4078" y="5101"/>
                  <a:pt x="4084" y="5111"/>
                  <a:pt x="4088" y="5121"/>
                </a:cubicBezTo>
                <a:cubicBezTo>
                  <a:pt x="4094" y="5134"/>
                  <a:pt x="4098" y="5149"/>
                  <a:pt x="4103" y="5163"/>
                </a:cubicBezTo>
                <a:cubicBezTo>
                  <a:pt x="4108" y="5175"/>
                  <a:pt x="4115" y="5186"/>
                  <a:pt x="4116" y="5199"/>
                </a:cubicBezTo>
                <a:cubicBezTo>
                  <a:pt x="4122" y="5254"/>
                  <a:pt x="4125" y="5310"/>
                  <a:pt x="4104" y="5362"/>
                </a:cubicBezTo>
                <a:cubicBezTo>
                  <a:pt x="4085" y="5408"/>
                  <a:pt x="4061" y="5452"/>
                  <a:pt x="4038" y="5497"/>
                </a:cubicBezTo>
                <a:cubicBezTo>
                  <a:pt x="4034" y="5505"/>
                  <a:pt x="4028" y="5512"/>
                  <a:pt x="4022" y="5518"/>
                </a:cubicBezTo>
                <a:cubicBezTo>
                  <a:pt x="3987" y="5553"/>
                  <a:pt x="3951" y="5587"/>
                  <a:pt x="3903" y="5605"/>
                </a:cubicBezTo>
                <a:cubicBezTo>
                  <a:pt x="3891" y="5610"/>
                  <a:pt x="3879" y="5616"/>
                  <a:pt x="3868" y="5622"/>
                </a:cubicBezTo>
                <a:cubicBezTo>
                  <a:pt x="3879" y="5623"/>
                  <a:pt x="3890" y="5622"/>
                  <a:pt x="3900" y="5620"/>
                </a:cubicBezTo>
                <a:cubicBezTo>
                  <a:pt x="3941" y="5610"/>
                  <a:pt x="3982" y="5602"/>
                  <a:pt x="4012" y="5568"/>
                </a:cubicBezTo>
                <a:cubicBezTo>
                  <a:pt x="4019" y="5560"/>
                  <a:pt x="4034" y="5557"/>
                  <a:pt x="4045" y="5554"/>
                </a:cubicBezTo>
                <a:cubicBezTo>
                  <a:pt x="4076" y="5545"/>
                  <a:pt x="4107" y="5540"/>
                  <a:pt x="4137" y="5529"/>
                </a:cubicBezTo>
                <a:cubicBezTo>
                  <a:pt x="4164" y="5520"/>
                  <a:pt x="4188" y="5504"/>
                  <a:pt x="4215" y="5496"/>
                </a:cubicBezTo>
                <a:cubicBezTo>
                  <a:pt x="4332" y="5464"/>
                  <a:pt x="4449" y="5435"/>
                  <a:pt x="4565" y="5404"/>
                </a:cubicBezTo>
                <a:cubicBezTo>
                  <a:pt x="4676" y="5375"/>
                  <a:pt x="4788" y="5349"/>
                  <a:pt x="4897" y="5316"/>
                </a:cubicBezTo>
                <a:cubicBezTo>
                  <a:pt x="4981" y="5290"/>
                  <a:pt x="5064" y="5267"/>
                  <a:pt x="5153" y="5262"/>
                </a:cubicBezTo>
                <a:cubicBezTo>
                  <a:pt x="5274" y="5256"/>
                  <a:pt x="5391" y="5269"/>
                  <a:pt x="5501" y="5321"/>
                </a:cubicBezTo>
                <a:cubicBezTo>
                  <a:pt x="5513" y="5327"/>
                  <a:pt x="5521" y="5326"/>
                  <a:pt x="5532" y="5318"/>
                </a:cubicBezTo>
                <a:cubicBezTo>
                  <a:pt x="5704" y="5197"/>
                  <a:pt x="5859" y="5058"/>
                  <a:pt x="5996" y="4899"/>
                </a:cubicBezTo>
                <a:cubicBezTo>
                  <a:pt x="6150" y="4719"/>
                  <a:pt x="6277" y="4522"/>
                  <a:pt x="6375" y="4307"/>
                </a:cubicBezTo>
                <a:cubicBezTo>
                  <a:pt x="6520" y="3989"/>
                  <a:pt x="6594" y="3655"/>
                  <a:pt x="6607" y="3307"/>
                </a:cubicBezTo>
                <a:cubicBezTo>
                  <a:pt x="6608" y="3266"/>
                  <a:pt x="6607" y="3224"/>
                  <a:pt x="6607" y="3179"/>
                </a:cubicBezTo>
                <a:cubicBezTo>
                  <a:pt x="6590" y="3191"/>
                  <a:pt x="6577" y="3201"/>
                  <a:pt x="6564" y="3211"/>
                </a:cubicBezTo>
                <a:cubicBezTo>
                  <a:pt x="6545" y="3225"/>
                  <a:pt x="6527" y="3241"/>
                  <a:pt x="6506" y="3253"/>
                </a:cubicBezTo>
                <a:cubicBezTo>
                  <a:pt x="6473" y="3272"/>
                  <a:pt x="6438" y="3288"/>
                  <a:pt x="6403" y="3304"/>
                </a:cubicBezTo>
                <a:cubicBezTo>
                  <a:pt x="6393" y="3309"/>
                  <a:pt x="6381" y="3313"/>
                  <a:pt x="6370" y="3313"/>
                </a:cubicBezTo>
                <a:cubicBezTo>
                  <a:pt x="6311" y="3314"/>
                  <a:pt x="6253" y="3313"/>
                  <a:pt x="6194" y="3314"/>
                </a:cubicBezTo>
                <a:cubicBezTo>
                  <a:pt x="6170" y="3314"/>
                  <a:pt x="6147" y="3312"/>
                  <a:pt x="6125" y="3301"/>
                </a:cubicBezTo>
                <a:cubicBezTo>
                  <a:pt x="6111" y="3294"/>
                  <a:pt x="6095" y="3288"/>
                  <a:pt x="6079" y="3286"/>
                </a:cubicBezTo>
                <a:cubicBezTo>
                  <a:pt x="6065" y="3285"/>
                  <a:pt x="6057" y="3277"/>
                  <a:pt x="6053" y="3266"/>
                </a:cubicBezTo>
                <a:cubicBezTo>
                  <a:pt x="6037" y="3218"/>
                  <a:pt x="6018" y="3172"/>
                  <a:pt x="6005" y="3123"/>
                </a:cubicBezTo>
                <a:cubicBezTo>
                  <a:pt x="5993" y="3078"/>
                  <a:pt x="5980" y="3034"/>
                  <a:pt x="5953" y="2996"/>
                </a:cubicBezTo>
                <a:cubicBezTo>
                  <a:pt x="5950" y="2992"/>
                  <a:pt x="5948" y="2987"/>
                  <a:pt x="5948" y="2983"/>
                </a:cubicBezTo>
                <a:cubicBezTo>
                  <a:pt x="5940" y="2947"/>
                  <a:pt x="5923" y="2916"/>
                  <a:pt x="5902" y="2887"/>
                </a:cubicBezTo>
                <a:cubicBezTo>
                  <a:pt x="5896" y="2878"/>
                  <a:pt x="5891" y="2868"/>
                  <a:pt x="5887" y="2857"/>
                </a:cubicBezTo>
                <a:cubicBezTo>
                  <a:pt x="5878" y="2836"/>
                  <a:pt x="5863" y="2821"/>
                  <a:pt x="5840" y="2815"/>
                </a:cubicBezTo>
                <a:cubicBezTo>
                  <a:pt x="5824" y="2811"/>
                  <a:pt x="5810" y="2816"/>
                  <a:pt x="5804" y="2833"/>
                </a:cubicBezTo>
                <a:cubicBezTo>
                  <a:pt x="5782" y="2896"/>
                  <a:pt x="5765" y="2961"/>
                  <a:pt x="5772" y="3029"/>
                </a:cubicBezTo>
                <a:cubicBezTo>
                  <a:pt x="5774" y="3050"/>
                  <a:pt x="5773" y="3071"/>
                  <a:pt x="5772" y="3091"/>
                </a:cubicBezTo>
                <a:cubicBezTo>
                  <a:pt x="5770" y="3137"/>
                  <a:pt x="5778" y="3180"/>
                  <a:pt x="5787" y="3225"/>
                </a:cubicBezTo>
                <a:cubicBezTo>
                  <a:pt x="5802" y="3297"/>
                  <a:pt x="5832" y="3355"/>
                  <a:pt x="5902" y="3388"/>
                </a:cubicBezTo>
                <a:cubicBezTo>
                  <a:pt x="5905" y="3389"/>
                  <a:pt x="5907" y="3392"/>
                  <a:pt x="5910" y="3393"/>
                </a:cubicBezTo>
                <a:cubicBezTo>
                  <a:pt x="5949" y="3410"/>
                  <a:pt x="5987" y="3429"/>
                  <a:pt x="6031" y="3429"/>
                </a:cubicBezTo>
                <a:cubicBezTo>
                  <a:pt x="6113" y="3430"/>
                  <a:pt x="6195" y="3429"/>
                  <a:pt x="6277" y="3429"/>
                </a:cubicBezTo>
                <a:cubicBezTo>
                  <a:pt x="6307" y="3429"/>
                  <a:pt x="6324" y="3443"/>
                  <a:pt x="6329" y="3474"/>
                </a:cubicBezTo>
                <a:cubicBezTo>
                  <a:pt x="6338" y="3527"/>
                  <a:pt x="6325" y="3576"/>
                  <a:pt x="6292" y="3616"/>
                </a:cubicBezTo>
                <a:cubicBezTo>
                  <a:pt x="6223" y="3701"/>
                  <a:pt x="6149" y="3783"/>
                  <a:pt x="6080" y="3868"/>
                </a:cubicBezTo>
                <a:cubicBezTo>
                  <a:pt x="6013" y="3949"/>
                  <a:pt x="5935" y="4020"/>
                  <a:pt x="5884" y="4114"/>
                </a:cubicBezTo>
                <a:cubicBezTo>
                  <a:pt x="5868" y="4143"/>
                  <a:pt x="5858" y="4172"/>
                  <a:pt x="5863" y="4205"/>
                </a:cubicBezTo>
                <a:cubicBezTo>
                  <a:pt x="5869" y="4235"/>
                  <a:pt x="5879" y="4265"/>
                  <a:pt x="5885" y="4295"/>
                </a:cubicBezTo>
                <a:cubicBezTo>
                  <a:pt x="5887" y="4305"/>
                  <a:pt x="5888" y="4316"/>
                  <a:pt x="5884" y="4325"/>
                </a:cubicBezTo>
                <a:cubicBezTo>
                  <a:pt x="5853" y="4405"/>
                  <a:pt x="5821" y="4485"/>
                  <a:pt x="5789" y="4565"/>
                </a:cubicBezTo>
                <a:cubicBezTo>
                  <a:pt x="5781" y="4585"/>
                  <a:pt x="5773" y="4605"/>
                  <a:pt x="5760" y="4621"/>
                </a:cubicBezTo>
                <a:cubicBezTo>
                  <a:pt x="5677" y="4731"/>
                  <a:pt x="5594" y="4839"/>
                  <a:pt x="5510" y="4947"/>
                </a:cubicBezTo>
                <a:cubicBezTo>
                  <a:pt x="5498" y="4963"/>
                  <a:pt x="5486" y="4981"/>
                  <a:pt x="5470" y="4991"/>
                </a:cubicBezTo>
                <a:cubicBezTo>
                  <a:pt x="5430" y="5019"/>
                  <a:pt x="5387" y="5043"/>
                  <a:pt x="5344" y="5068"/>
                </a:cubicBezTo>
                <a:cubicBezTo>
                  <a:pt x="5337" y="5072"/>
                  <a:pt x="5328" y="5075"/>
                  <a:pt x="5320" y="5075"/>
                </a:cubicBezTo>
                <a:cubicBezTo>
                  <a:pt x="5260" y="5075"/>
                  <a:pt x="5200" y="5075"/>
                  <a:pt x="5140" y="5075"/>
                </a:cubicBezTo>
                <a:cubicBezTo>
                  <a:pt x="5134" y="5075"/>
                  <a:pt x="5125" y="5072"/>
                  <a:pt x="5122" y="5067"/>
                </a:cubicBezTo>
                <a:cubicBezTo>
                  <a:pt x="5101" y="5036"/>
                  <a:pt x="5078" y="5007"/>
                  <a:pt x="5062" y="4973"/>
                </a:cubicBezTo>
                <a:cubicBezTo>
                  <a:pt x="5024" y="4891"/>
                  <a:pt x="4985" y="4809"/>
                  <a:pt x="4953" y="4724"/>
                </a:cubicBezTo>
                <a:cubicBezTo>
                  <a:pt x="4934" y="4674"/>
                  <a:pt x="4919" y="4621"/>
                  <a:pt x="4920" y="4566"/>
                </a:cubicBezTo>
                <a:cubicBezTo>
                  <a:pt x="4921" y="4475"/>
                  <a:pt x="4921" y="4383"/>
                  <a:pt x="4920" y="4292"/>
                </a:cubicBezTo>
                <a:cubicBezTo>
                  <a:pt x="4919" y="4250"/>
                  <a:pt x="4921" y="4210"/>
                  <a:pt x="4936" y="4171"/>
                </a:cubicBezTo>
                <a:cubicBezTo>
                  <a:pt x="4941" y="4159"/>
                  <a:pt x="4943" y="4146"/>
                  <a:pt x="4946" y="4134"/>
                </a:cubicBezTo>
                <a:cubicBezTo>
                  <a:pt x="4951" y="4118"/>
                  <a:pt x="4951" y="4104"/>
                  <a:pt x="4938" y="4090"/>
                </a:cubicBezTo>
                <a:cubicBezTo>
                  <a:pt x="4932" y="4083"/>
                  <a:pt x="4927" y="4073"/>
                  <a:pt x="4925" y="4064"/>
                </a:cubicBezTo>
                <a:cubicBezTo>
                  <a:pt x="4922" y="4051"/>
                  <a:pt x="4915" y="4047"/>
                  <a:pt x="4903" y="4047"/>
                </a:cubicBezTo>
                <a:cubicBezTo>
                  <a:pt x="4869" y="4047"/>
                  <a:pt x="4844" y="4030"/>
                  <a:pt x="4822" y="4007"/>
                </a:cubicBezTo>
                <a:cubicBezTo>
                  <a:pt x="4800" y="3984"/>
                  <a:pt x="4777" y="3963"/>
                  <a:pt x="4756" y="3940"/>
                </a:cubicBezTo>
                <a:cubicBezTo>
                  <a:pt x="4750" y="3933"/>
                  <a:pt x="4745" y="3922"/>
                  <a:pt x="4745" y="3912"/>
                </a:cubicBezTo>
                <a:cubicBezTo>
                  <a:pt x="4743" y="3874"/>
                  <a:pt x="4743" y="3835"/>
                  <a:pt x="4745" y="3796"/>
                </a:cubicBezTo>
                <a:cubicBezTo>
                  <a:pt x="4746" y="3761"/>
                  <a:pt x="4733" y="3756"/>
                  <a:pt x="4702" y="3753"/>
                </a:cubicBezTo>
                <a:cubicBezTo>
                  <a:pt x="4695" y="3752"/>
                  <a:pt x="4688" y="3747"/>
                  <a:pt x="4683" y="3742"/>
                </a:cubicBezTo>
                <a:cubicBezTo>
                  <a:pt x="4650" y="3714"/>
                  <a:pt x="4616" y="3688"/>
                  <a:pt x="4569" y="3700"/>
                </a:cubicBezTo>
                <a:cubicBezTo>
                  <a:pt x="4467" y="3724"/>
                  <a:pt x="4366" y="3752"/>
                  <a:pt x="4264" y="3773"/>
                </a:cubicBezTo>
                <a:cubicBezTo>
                  <a:pt x="4224" y="3782"/>
                  <a:pt x="4181" y="3781"/>
                  <a:pt x="4139" y="3780"/>
                </a:cubicBezTo>
                <a:cubicBezTo>
                  <a:pt x="4120" y="3779"/>
                  <a:pt x="4100" y="3769"/>
                  <a:pt x="4081" y="3762"/>
                </a:cubicBezTo>
                <a:cubicBezTo>
                  <a:pt x="4061" y="3753"/>
                  <a:pt x="4042" y="3739"/>
                  <a:pt x="4020" y="3734"/>
                </a:cubicBezTo>
                <a:cubicBezTo>
                  <a:pt x="3993" y="3727"/>
                  <a:pt x="3981" y="3713"/>
                  <a:pt x="3970" y="3688"/>
                </a:cubicBezTo>
                <a:cubicBezTo>
                  <a:pt x="3939" y="3620"/>
                  <a:pt x="3892" y="3560"/>
                  <a:pt x="3847" y="3500"/>
                </a:cubicBezTo>
                <a:cubicBezTo>
                  <a:pt x="3829" y="3477"/>
                  <a:pt x="3813" y="3448"/>
                  <a:pt x="3806" y="3420"/>
                </a:cubicBezTo>
                <a:cubicBezTo>
                  <a:pt x="3798" y="3385"/>
                  <a:pt x="3799" y="3347"/>
                  <a:pt x="3797" y="3311"/>
                </a:cubicBezTo>
                <a:cubicBezTo>
                  <a:pt x="3790" y="3221"/>
                  <a:pt x="3784" y="3132"/>
                  <a:pt x="3778" y="3042"/>
                </a:cubicBezTo>
                <a:cubicBezTo>
                  <a:pt x="3778" y="3029"/>
                  <a:pt x="3781" y="3016"/>
                  <a:pt x="3784" y="3004"/>
                </a:cubicBezTo>
                <a:cubicBezTo>
                  <a:pt x="3791" y="2982"/>
                  <a:pt x="3798" y="2960"/>
                  <a:pt x="3805" y="2938"/>
                </a:cubicBezTo>
                <a:cubicBezTo>
                  <a:pt x="3807" y="2933"/>
                  <a:pt x="3809" y="2928"/>
                  <a:pt x="3813" y="2924"/>
                </a:cubicBezTo>
                <a:cubicBezTo>
                  <a:pt x="3841" y="2895"/>
                  <a:pt x="3867" y="2864"/>
                  <a:pt x="3907" y="2850"/>
                </a:cubicBezTo>
                <a:cubicBezTo>
                  <a:pt x="3915" y="2847"/>
                  <a:pt x="3923" y="2841"/>
                  <a:pt x="3927" y="2835"/>
                </a:cubicBezTo>
                <a:cubicBezTo>
                  <a:pt x="3961" y="2771"/>
                  <a:pt x="3992" y="2706"/>
                  <a:pt x="4013" y="2636"/>
                </a:cubicBezTo>
                <a:cubicBezTo>
                  <a:pt x="4018" y="2620"/>
                  <a:pt x="4032" y="2604"/>
                  <a:pt x="4046" y="2594"/>
                </a:cubicBezTo>
                <a:cubicBezTo>
                  <a:pt x="4077" y="2571"/>
                  <a:pt x="4110" y="2551"/>
                  <a:pt x="4142" y="2530"/>
                </a:cubicBezTo>
                <a:cubicBezTo>
                  <a:pt x="4153" y="2524"/>
                  <a:pt x="4164" y="2518"/>
                  <a:pt x="4176" y="2515"/>
                </a:cubicBezTo>
                <a:cubicBezTo>
                  <a:pt x="4209" y="2508"/>
                  <a:pt x="4241" y="2502"/>
                  <a:pt x="4274" y="2498"/>
                </a:cubicBezTo>
                <a:cubicBezTo>
                  <a:pt x="4316" y="2492"/>
                  <a:pt x="4357" y="2483"/>
                  <a:pt x="4394" y="2460"/>
                </a:cubicBezTo>
                <a:cubicBezTo>
                  <a:pt x="4433" y="2436"/>
                  <a:pt x="4476" y="2423"/>
                  <a:pt x="4520" y="2414"/>
                </a:cubicBezTo>
                <a:cubicBezTo>
                  <a:pt x="4540" y="2409"/>
                  <a:pt x="4561" y="2404"/>
                  <a:pt x="4579" y="2396"/>
                </a:cubicBezTo>
                <a:cubicBezTo>
                  <a:pt x="4611" y="2382"/>
                  <a:pt x="4641" y="2360"/>
                  <a:pt x="4674" y="2351"/>
                </a:cubicBezTo>
                <a:cubicBezTo>
                  <a:pt x="4705" y="2342"/>
                  <a:pt x="4740" y="2345"/>
                  <a:pt x="4774" y="2343"/>
                </a:cubicBezTo>
                <a:cubicBezTo>
                  <a:pt x="4777" y="2343"/>
                  <a:pt x="4780" y="2347"/>
                  <a:pt x="4783" y="2350"/>
                </a:cubicBezTo>
                <a:cubicBezTo>
                  <a:pt x="4813" y="2380"/>
                  <a:pt x="4843" y="2410"/>
                  <a:pt x="4865" y="2447"/>
                </a:cubicBezTo>
                <a:cubicBezTo>
                  <a:pt x="4875" y="2464"/>
                  <a:pt x="4886" y="2483"/>
                  <a:pt x="4901" y="2494"/>
                </a:cubicBezTo>
                <a:cubicBezTo>
                  <a:pt x="4962" y="2540"/>
                  <a:pt x="5025" y="2584"/>
                  <a:pt x="5087" y="2628"/>
                </a:cubicBezTo>
                <a:cubicBezTo>
                  <a:pt x="5095" y="2634"/>
                  <a:pt x="5107" y="2637"/>
                  <a:pt x="5117" y="2637"/>
                </a:cubicBezTo>
                <a:cubicBezTo>
                  <a:pt x="5262" y="2637"/>
                  <a:pt x="5408" y="2637"/>
                  <a:pt x="5554" y="2637"/>
                </a:cubicBezTo>
                <a:cubicBezTo>
                  <a:pt x="5581" y="2637"/>
                  <a:pt x="5603" y="2627"/>
                  <a:pt x="5622" y="2609"/>
                </a:cubicBezTo>
                <a:cubicBezTo>
                  <a:pt x="5642" y="2590"/>
                  <a:pt x="5643" y="2571"/>
                  <a:pt x="5625" y="2550"/>
                </a:cubicBezTo>
                <a:cubicBezTo>
                  <a:pt x="5618" y="2541"/>
                  <a:pt x="5608" y="2532"/>
                  <a:pt x="5606" y="2522"/>
                </a:cubicBezTo>
                <a:cubicBezTo>
                  <a:pt x="5599" y="2488"/>
                  <a:pt x="5572" y="2475"/>
                  <a:pt x="5546" y="2458"/>
                </a:cubicBezTo>
                <a:cubicBezTo>
                  <a:pt x="5535" y="2451"/>
                  <a:pt x="5521" y="2446"/>
                  <a:pt x="5514" y="2435"/>
                </a:cubicBezTo>
                <a:cubicBezTo>
                  <a:pt x="5487" y="2397"/>
                  <a:pt x="5447" y="2403"/>
                  <a:pt x="5408" y="2403"/>
                </a:cubicBezTo>
                <a:cubicBezTo>
                  <a:pt x="5365" y="2402"/>
                  <a:pt x="5322" y="2400"/>
                  <a:pt x="5284" y="2427"/>
                </a:cubicBezTo>
                <a:cubicBezTo>
                  <a:pt x="5280" y="2429"/>
                  <a:pt x="5267" y="2427"/>
                  <a:pt x="5264" y="2422"/>
                </a:cubicBezTo>
                <a:cubicBezTo>
                  <a:pt x="5250" y="2406"/>
                  <a:pt x="5234" y="2402"/>
                  <a:pt x="5213" y="2402"/>
                </a:cubicBezTo>
                <a:cubicBezTo>
                  <a:pt x="5170" y="2404"/>
                  <a:pt x="5127" y="2403"/>
                  <a:pt x="5083" y="2403"/>
                </a:cubicBezTo>
                <a:cubicBezTo>
                  <a:pt x="5076" y="2403"/>
                  <a:pt x="5067" y="2402"/>
                  <a:pt x="5060" y="2399"/>
                </a:cubicBezTo>
                <a:cubicBezTo>
                  <a:pt x="5009" y="2371"/>
                  <a:pt x="4956" y="2346"/>
                  <a:pt x="4907" y="2314"/>
                </a:cubicBezTo>
                <a:cubicBezTo>
                  <a:pt x="4869" y="2289"/>
                  <a:pt x="4828" y="2269"/>
                  <a:pt x="4784" y="2261"/>
                </a:cubicBezTo>
                <a:cubicBezTo>
                  <a:pt x="4750" y="2254"/>
                  <a:pt x="4711" y="2251"/>
                  <a:pt x="4680" y="2261"/>
                </a:cubicBezTo>
                <a:cubicBezTo>
                  <a:pt x="4604" y="2286"/>
                  <a:pt x="4529" y="2314"/>
                  <a:pt x="4466" y="2365"/>
                </a:cubicBezTo>
                <a:cubicBezTo>
                  <a:pt x="4459" y="2371"/>
                  <a:pt x="4447" y="2374"/>
                  <a:pt x="4437" y="2374"/>
                </a:cubicBezTo>
                <a:cubicBezTo>
                  <a:pt x="4381" y="2374"/>
                  <a:pt x="4325" y="2374"/>
                  <a:pt x="4269" y="2374"/>
                </a:cubicBezTo>
                <a:cubicBezTo>
                  <a:pt x="4262" y="2374"/>
                  <a:pt x="4256" y="2374"/>
                  <a:pt x="4250" y="2374"/>
                </a:cubicBezTo>
                <a:cubicBezTo>
                  <a:pt x="4249" y="2385"/>
                  <a:pt x="4248" y="2393"/>
                  <a:pt x="4247" y="2403"/>
                </a:cubicBezTo>
                <a:cubicBezTo>
                  <a:pt x="4200" y="2403"/>
                  <a:pt x="4155" y="2403"/>
                  <a:pt x="4110" y="2402"/>
                </a:cubicBezTo>
                <a:cubicBezTo>
                  <a:pt x="4105" y="2402"/>
                  <a:pt x="4097" y="2396"/>
                  <a:pt x="4095" y="2390"/>
                </a:cubicBezTo>
                <a:cubicBezTo>
                  <a:pt x="4078" y="2349"/>
                  <a:pt x="4061" y="2307"/>
                  <a:pt x="4045" y="2265"/>
                </a:cubicBezTo>
                <a:cubicBezTo>
                  <a:pt x="4043" y="2260"/>
                  <a:pt x="4044" y="2252"/>
                  <a:pt x="4047" y="2247"/>
                </a:cubicBezTo>
                <a:cubicBezTo>
                  <a:pt x="4062" y="2223"/>
                  <a:pt x="4077" y="2199"/>
                  <a:pt x="4094" y="2176"/>
                </a:cubicBezTo>
                <a:cubicBezTo>
                  <a:pt x="4097" y="2172"/>
                  <a:pt x="4106" y="2169"/>
                  <a:pt x="4111" y="2170"/>
                </a:cubicBezTo>
                <a:cubicBezTo>
                  <a:pt x="4142" y="2177"/>
                  <a:pt x="4173" y="2184"/>
                  <a:pt x="4204" y="2192"/>
                </a:cubicBezTo>
                <a:cubicBezTo>
                  <a:pt x="4228" y="2199"/>
                  <a:pt x="4248" y="2196"/>
                  <a:pt x="4266" y="2178"/>
                </a:cubicBezTo>
                <a:cubicBezTo>
                  <a:pt x="4273" y="2171"/>
                  <a:pt x="4284" y="2167"/>
                  <a:pt x="4294" y="2167"/>
                </a:cubicBezTo>
                <a:cubicBezTo>
                  <a:pt x="4326" y="2165"/>
                  <a:pt x="4359" y="2166"/>
                  <a:pt x="4392" y="2166"/>
                </a:cubicBezTo>
                <a:cubicBezTo>
                  <a:pt x="4392" y="2127"/>
                  <a:pt x="4392" y="2091"/>
                  <a:pt x="4392" y="2054"/>
                </a:cubicBezTo>
                <a:cubicBezTo>
                  <a:pt x="4392" y="2050"/>
                  <a:pt x="4390" y="2045"/>
                  <a:pt x="4388" y="2041"/>
                </a:cubicBezTo>
                <a:cubicBezTo>
                  <a:pt x="4372" y="2009"/>
                  <a:pt x="4357" y="1977"/>
                  <a:pt x="4340" y="1945"/>
                </a:cubicBezTo>
                <a:cubicBezTo>
                  <a:pt x="4338" y="1940"/>
                  <a:pt x="4332" y="1935"/>
                  <a:pt x="4328" y="1935"/>
                </a:cubicBezTo>
                <a:cubicBezTo>
                  <a:pt x="4292" y="1934"/>
                  <a:pt x="4256" y="1934"/>
                  <a:pt x="4221" y="1934"/>
                </a:cubicBezTo>
                <a:cubicBezTo>
                  <a:pt x="4219" y="1945"/>
                  <a:pt x="4218" y="1953"/>
                  <a:pt x="4217" y="1962"/>
                </a:cubicBezTo>
                <a:cubicBezTo>
                  <a:pt x="4179" y="1962"/>
                  <a:pt x="4143" y="1962"/>
                  <a:pt x="4106" y="1962"/>
                </a:cubicBezTo>
                <a:cubicBezTo>
                  <a:pt x="4103" y="1962"/>
                  <a:pt x="4099" y="1962"/>
                  <a:pt x="4097" y="1960"/>
                </a:cubicBezTo>
                <a:cubicBezTo>
                  <a:pt x="4059" y="1932"/>
                  <a:pt x="4021" y="1904"/>
                  <a:pt x="3982" y="1874"/>
                </a:cubicBezTo>
                <a:cubicBezTo>
                  <a:pt x="3997" y="1863"/>
                  <a:pt x="4011" y="1855"/>
                  <a:pt x="4024" y="1845"/>
                </a:cubicBezTo>
                <a:cubicBezTo>
                  <a:pt x="4043" y="1830"/>
                  <a:pt x="4069" y="1824"/>
                  <a:pt x="4077" y="1796"/>
                </a:cubicBezTo>
                <a:cubicBezTo>
                  <a:pt x="4078" y="1793"/>
                  <a:pt x="4083" y="1790"/>
                  <a:pt x="4087" y="1788"/>
                </a:cubicBezTo>
                <a:cubicBezTo>
                  <a:pt x="4125" y="1770"/>
                  <a:pt x="4163" y="1752"/>
                  <a:pt x="4201" y="1735"/>
                </a:cubicBezTo>
                <a:cubicBezTo>
                  <a:pt x="4213" y="1729"/>
                  <a:pt x="4218" y="1723"/>
                  <a:pt x="4217" y="1709"/>
                </a:cubicBezTo>
                <a:cubicBezTo>
                  <a:pt x="4217" y="1702"/>
                  <a:pt x="4221" y="1694"/>
                  <a:pt x="4226" y="1689"/>
                </a:cubicBezTo>
                <a:cubicBezTo>
                  <a:pt x="4248" y="1665"/>
                  <a:pt x="4272" y="1643"/>
                  <a:pt x="4294" y="1619"/>
                </a:cubicBezTo>
                <a:cubicBezTo>
                  <a:pt x="4303" y="1610"/>
                  <a:pt x="4310" y="1610"/>
                  <a:pt x="4320" y="1615"/>
                </a:cubicBezTo>
                <a:cubicBezTo>
                  <a:pt x="4350" y="1631"/>
                  <a:pt x="4379" y="1646"/>
                  <a:pt x="4409" y="1660"/>
                </a:cubicBezTo>
                <a:cubicBezTo>
                  <a:pt x="4422" y="1665"/>
                  <a:pt x="4425" y="1673"/>
                  <a:pt x="4425" y="1686"/>
                </a:cubicBezTo>
                <a:cubicBezTo>
                  <a:pt x="4424" y="1725"/>
                  <a:pt x="4426" y="1764"/>
                  <a:pt x="4424" y="1804"/>
                </a:cubicBezTo>
                <a:cubicBezTo>
                  <a:pt x="4422" y="1832"/>
                  <a:pt x="4430" y="1856"/>
                  <a:pt x="4447" y="1879"/>
                </a:cubicBezTo>
                <a:cubicBezTo>
                  <a:pt x="4461" y="1898"/>
                  <a:pt x="4475" y="1918"/>
                  <a:pt x="4483" y="1940"/>
                </a:cubicBezTo>
                <a:cubicBezTo>
                  <a:pt x="4494" y="1971"/>
                  <a:pt x="4514" y="1990"/>
                  <a:pt x="4546" y="1990"/>
                </a:cubicBezTo>
                <a:cubicBezTo>
                  <a:pt x="4561" y="1990"/>
                  <a:pt x="4576" y="1992"/>
                  <a:pt x="4590" y="1990"/>
                </a:cubicBezTo>
                <a:cubicBezTo>
                  <a:pt x="4606" y="1987"/>
                  <a:pt x="4624" y="1984"/>
                  <a:pt x="4637" y="1976"/>
                </a:cubicBezTo>
                <a:cubicBezTo>
                  <a:pt x="4671" y="1955"/>
                  <a:pt x="4703" y="1932"/>
                  <a:pt x="4736" y="1909"/>
                </a:cubicBezTo>
                <a:cubicBezTo>
                  <a:pt x="4739" y="1906"/>
                  <a:pt x="4744" y="1899"/>
                  <a:pt x="4743" y="1895"/>
                </a:cubicBezTo>
                <a:cubicBezTo>
                  <a:pt x="4728" y="1847"/>
                  <a:pt x="4725" y="1795"/>
                  <a:pt x="4698" y="1751"/>
                </a:cubicBezTo>
                <a:cubicBezTo>
                  <a:pt x="4686" y="1732"/>
                  <a:pt x="4686" y="1711"/>
                  <a:pt x="4689" y="1690"/>
                </a:cubicBezTo>
                <a:cubicBezTo>
                  <a:pt x="4692" y="1672"/>
                  <a:pt x="4696" y="1655"/>
                  <a:pt x="4701" y="1637"/>
                </a:cubicBezTo>
                <a:cubicBezTo>
                  <a:pt x="4719" y="1574"/>
                  <a:pt x="4739" y="1513"/>
                  <a:pt x="4795" y="1471"/>
                </a:cubicBezTo>
                <a:cubicBezTo>
                  <a:pt x="4813" y="1457"/>
                  <a:pt x="4832" y="1444"/>
                  <a:pt x="4851" y="1430"/>
                </a:cubicBezTo>
                <a:cubicBezTo>
                  <a:pt x="4875" y="1412"/>
                  <a:pt x="4898" y="1393"/>
                  <a:pt x="4921" y="1375"/>
                </a:cubicBezTo>
                <a:cubicBezTo>
                  <a:pt x="4935" y="1365"/>
                  <a:pt x="4949" y="1355"/>
                  <a:pt x="4965" y="1347"/>
                </a:cubicBezTo>
                <a:cubicBezTo>
                  <a:pt x="4988" y="1336"/>
                  <a:pt x="5014" y="1330"/>
                  <a:pt x="5035" y="1316"/>
                </a:cubicBezTo>
                <a:cubicBezTo>
                  <a:pt x="5060" y="1299"/>
                  <a:pt x="5086" y="1290"/>
                  <a:pt x="5115" y="1288"/>
                </a:cubicBezTo>
                <a:cubicBezTo>
                  <a:pt x="5132" y="1286"/>
                  <a:pt x="5149" y="1286"/>
                  <a:pt x="5166" y="1287"/>
                </a:cubicBezTo>
                <a:cubicBezTo>
                  <a:pt x="5180" y="1288"/>
                  <a:pt x="5190" y="1284"/>
                  <a:pt x="5197" y="1274"/>
                </a:cubicBezTo>
                <a:cubicBezTo>
                  <a:pt x="5208" y="1260"/>
                  <a:pt x="5221" y="1254"/>
                  <a:pt x="5239" y="1256"/>
                </a:cubicBezTo>
                <a:cubicBezTo>
                  <a:pt x="5259" y="1258"/>
                  <a:pt x="5279" y="1256"/>
                  <a:pt x="5299" y="1259"/>
                </a:cubicBezTo>
                <a:cubicBezTo>
                  <a:pt x="5337" y="1266"/>
                  <a:pt x="5375" y="1274"/>
                  <a:pt x="5413" y="1282"/>
                </a:cubicBezTo>
                <a:cubicBezTo>
                  <a:pt x="5420" y="1284"/>
                  <a:pt x="5427" y="1287"/>
                  <a:pt x="5434" y="1286"/>
                </a:cubicBezTo>
                <a:cubicBezTo>
                  <a:pt x="5449" y="1285"/>
                  <a:pt x="5459" y="1291"/>
                  <a:pt x="5464" y="1304"/>
                </a:cubicBezTo>
                <a:cubicBezTo>
                  <a:pt x="5472" y="1322"/>
                  <a:pt x="5478" y="1341"/>
                  <a:pt x="5486" y="1359"/>
                </a:cubicBezTo>
                <a:cubicBezTo>
                  <a:pt x="5501" y="1398"/>
                  <a:pt x="5517" y="1436"/>
                  <a:pt x="5532" y="1475"/>
                </a:cubicBezTo>
                <a:cubicBezTo>
                  <a:pt x="5536" y="1487"/>
                  <a:pt x="5542" y="1492"/>
                  <a:pt x="5555" y="1491"/>
                </a:cubicBezTo>
                <a:cubicBezTo>
                  <a:pt x="5581" y="1488"/>
                  <a:pt x="5605" y="1490"/>
                  <a:pt x="5621" y="1514"/>
                </a:cubicBezTo>
                <a:cubicBezTo>
                  <a:pt x="5622" y="1515"/>
                  <a:pt x="5624" y="1515"/>
                  <a:pt x="5626" y="1515"/>
                </a:cubicBezTo>
                <a:cubicBezTo>
                  <a:pt x="5636" y="1476"/>
                  <a:pt x="5645" y="1436"/>
                  <a:pt x="5658" y="1397"/>
                </a:cubicBezTo>
                <a:cubicBezTo>
                  <a:pt x="5671" y="1357"/>
                  <a:pt x="5698" y="1325"/>
                  <a:pt x="5732" y="1297"/>
                </a:cubicBezTo>
                <a:cubicBezTo>
                  <a:pt x="5720" y="1287"/>
                  <a:pt x="5710" y="1278"/>
                  <a:pt x="5700" y="1270"/>
                </a:cubicBezTo>
                <a:cubicBezTo>
                  <a:pt x="5683" y="1256"/>
                  <a:pt x="5666" y="1242"/>
                  <a:pt x="5649" y="1228"/>
                </a:cubicBezTo>
                <a:cubicBezTo>
                  <a:pt x="5428" y="1051"/>
                  <a:pt x="5185" y="912"/>
                  <a:pt x="4919" y="815"/>
                </a:cubicBezTo>
                <a:cubicBezTo>
                  <a:pt x="4687" y="731"/>
                  <a:pt x="4448" y="681"/>
                  <a:pt x="4201" y="667"/>
                </a:cubicBezTo>
                <a:cubicBezTo>
                  <a:pt x="4056" y="658"/>
                  <a:pt x="3912" y="658"/>
                  <a:pt x="3769" y="677"/>
                </a:cubicBezTo>
                <a:cubicBezTo>
                  <a:pt x="3656" y="691"/>
                  <a:pt x="3544" y="710"/>
                  <a:pt x="3434" y="736"/>
                </a:cubicBezTo>
                <a:cubicBezTo>
                  <a:pt x="3132" y="805"/>
                  <a:pt x="2854" y="930"/>
                  <a:pt x="2599" y="1106"/>
                </a:cubicBezTo>
                <a:cubicBezTo>
                  <a:pt x="2594" y="1110"/>
                  <a:pt x="2588" y="1114"/>
                  <a:pt x="2586" y="1118"/>
                </a:cubicBezTo>
                <a:cubicBezTo>
                  <a:pt x="2578" y="1142"/>
                  <a:pt x="2569" y="1165"/>
                  <a:pt x="2565" y="1189"/>
                </a:cubicBezTo>
                <a:cubicBezTo>
                  <a:pt x="2556" y="1249"/>
                  <a:pt x="2550" y="1310"/>
                  <a:pt x="2541" y="1370"/>
                </a:cubicBezTo>
                <a:cubicBezTo>
                  <a:pt x="2538" y="1389"/>
                  <a:pt x="2544" y="1403"/>
                  <a:pt x="2552" y="1418"/>
                </a:cubicBezTo>
                <a:cubicBezTo>
                  <a:pt x="2564" y="1439"/>
                  <a:pt x="2577" y="1458"/>
                  <a:pt x="2585" y="1480"/>
                </a:cubicBezTo>
                <a:cubicBezTo>
                  <a:pt x="2631" y="1604"/>
                  <a:pt x="2675" y="1729"/>
                  <a:pt x="2720" y="1854"/>
                </a:cubicBezTo>
                <a:cubicBezTo>
                  <a:pt x="2729" y="1879"/>
                  <a:pt x="2736" y="1906"/>
                  <a:pt x="2752" y="1930"/>
                </a:cubicBezTo>
                <a:cubicBezTo>
                  <a:pt x="2790" y="1989"/>
                  <a:pt x="2827" y="2049"/>
                  <a:pt x="2861" y="2110"/>
                </a:cubicBezTo>
                <a:cubicBezTo>
                  <a:pt x="2906" y="2194"/>
                  <a:pt x="2942" y="2283"/>
                  <a:pt x="2965" y="2375"/>
                </a:cubicBezTo>
                <a:cubicBezTo>
                  <a:pt x="2982" y="2445"/>
                  <a:pt x="2998" y="2516"/>
                  <a:pt x="3013" y="2586"/>
                </a:cubicBezTo>
                <a:cubicBezTo>
                  <a:pt x="3026" y="2648"/>
                  <a:pt x="3040" y="2710"/>
                  <a:pt x="3032" y="2773"/>
                </a:cubicBezTo>
                <a:cubicBezTo>
                  <a:pt x="3031" y="2788"/>
                  <a:pt x="3024" y="2807"/>
                  <a:pt x="3013" y="2814"/>
                </a:cubicBezTo>
                <a:cubicBezTo>
                  <a:pt x="2962" y="2848"/>
                  <a:pt x="2911" y="2882"/>
                  <a:pt x="2856" y="2908"/>
                </a:cubicBezTo>
                <a:cubicBezTo>
                  <a:pt x="2770" y="2948"/>
                  <a:pt x="2681" y="2980"/>
                  <a:pt x="2593" y="3016"/>
                </a:cubicBezTo>
                <a:cubicBezTo>
                  <a:pt x="2569" y="3026"/>
                  <a:pt x="2544" y="3030"/>
                  <a:pt x="2518" y="3030"/>
                </a:cubicBezTo>
                <a:cubicBezTo>
                  <a:pt x="2487" y="3030"/>
                  <a:pt x="2455" y="3033"/>
                  <a:pt x="2425" y="3038"/>
                </a:cubicBezTo>
                <a:cubicBezTo>
                  <a:pt x="2333" y="3054"/>
                  <a:pt x="2241" y="3058"/>
                  <a:pt x="2149" y="3058"/>
                </a:cubicBezTo>
                <a:cubicBezTo>
                  <a:pt x="2095" y="3058"/>
                  <a:pt x="2041" y="3060"/>
                  <a:pt x="1987" y="3056"/>
                </a:cubicBezTo>
                <a:cubicBezTo>
                  <a:pt x="1916" y="3051"/>
                  <a:pt x="1849" y="3030"/>
                  <a:pt x="1782" y="3010"/>
                </a:cubicBezTo>
                <a:cubicBezTo>
                  <a:pt x="1689" y="2982"/>
                  <a:pt x="1598" y="2951"/>
                  <a:pt x="1513" y="2902"/>
                </a:cubicBezTo>
                <a:cubicBezTo>
                  <a:pt x="1508" y="2899"/>
                  <a:pt x="1502" y="2896"/>
                  <a:pt x="1493" y="2892"/>
                </a:cubicBezTo>
                <a:close/>
                <a:moveTo>
                  <a:pt x="726" y="4819"/>
                </a:moveTo>
                <a:cubicBezTo>
                  <a:pt x="833" y="5327"/>
                  <a:pt x="938" y="5833"/>
                  <a:pt x="1045" y="6341"/>
                </a:cubicBezTo>
                <a:cubicBezTo>
                  <a:pt x="1092" y="6330"/>
                  <a:pt x="1137" y="6318"/>
                  <a:pt x="1182" y="6309"/>
                </a:cubicBezTo>
                <a:cubicBezTo>
                  <a:pt x="1229" y="6300"/>
                  <a:pt x="1276" y="6294"/>
                  <a:pt x="1324" y="6288"/>
                </a:cubicBezTo>
                <a:cubicBezTo>
                  <a:pt x="1369" y="6283"/>
                  <a:pt x="1415" y="6282"/>
                  <a:pt x="1460" y="6277"/>
                </a:cubicBezTo>
                <a:cubicBezTo>
                  <a:pt x="1533" y="6269"/>
                  <a:pt x="1605" y="6255"/>
                  <a:pt x="1678" y="6257"/>
                </a:cubicBezTo>
                <a:cubicBezTo>
                  <a:pt x="1768" y="6259"/>
                  <a:pt x="1858" y="6257"/>
                  <a:pt x="1948" y="6257"/>
                </a:cubicBezTo>
                <a:cubicBezTo>
                  <a:pt x="1954" y="6257"/>
                  <a:pt x="1960" y="6257"/>
                  <a:pt x="1966" y="6258"/>
                </a:cubicBezTo>
                <a:cubicBezTo>
                  <a:pt x="2048" y="6272"/>
                  <a:pt x="2130" y="6285"/>
                  <a:pt x="2211" y="6302"/>
                </a:cubicBezTo>
                <a:cubicBezTo>
                  <a:pt x="2414" y="6345"/>
                  <a:pt x="2616" y="6391"/>
                  <a:pt x="2818" y="6435"/>
                </a:cubicBezTo>
                <a:cubicBezTo>
                  <a:pt x="3042" y="6484"/>
                  <a:pt x="3265" y="6533"/>
                  <a:pt x="3488" y="6583"/>
                </a:cubicBezTo>
                <a:cubicBezTo>
                  <a:pt x="3561" y="6599"/>
                  <a:pt x="3634" y="6612"/>
                  <a:pt x="3709" y="6608"/>
                </a:cubicBezTo>
                <a:cubicBezTo>
                  <a:pt x="3758" y="6606"/>
                  <a:pt x="3807" y="6608"/>
                  <a:pt x="3857" y="6608"/>
                </a:cubicBezTo>
                <a:cubicBezTo>
                  <a:pt x="3867" y="6608"/>
                  <a:pt x="3878" y="6607"/>
                  <a:pt x="3888" y="6605"/>
                </a:cubicBezTo>
                <a:cubicBezTo>
                  <a:pt x="3928" y="6596"/>
                  <a:pt x="3966" y="6586"/>
                  <a:pt x="4006" y="6578"/>
                </a:cubicBezTo>
                <a:cubicBezTo>
                  <a:pt x="4058" y="6567"/>
                  <a:pt x="4106" y="6546"/>
                  <a:pt x="4150" y="6519"/>
                </a:cubicBezTo>
                <a:cubicBezTo>
                  <a:pt x="4552" y="6275"/>
                  <a:pt x="4953" y="6031"/>
                  <a:pt x="5355" y="5788"/>
                </a:cubicBezTo>
                <a:cubicBezTo>
                  <a:pt x="5435" y="5740"/>
                  <a:pt x="5513" y="5691"/>
                  <a:pt x="5573" y="5618"/>
                </a:cubicBezTo>
                <a:cubicBezTo>
                  <a:pt x="5583" y="5606"/>
                  <a:pt x="5590" y="5587"/>
                  <a:pt x="5590" y="5572"/>
                </a:cubicBezTo>
                <a:cubicBezTo>
                  <a:pt x="5591" y="5555"/>
                  <a:pt x="5583" y="5537"/>
                  <a:pt x="5580" y="5520"/>
                </a:cubicBezTo>
                <a:cubicBezTo>
                  <a:pt x="5573" y="5484"/>
                  <a:pt x="5543" y="5438"/>
                  <a:pt x="5500" y="5433"/>
                </a:cubicBezTo>
                <a:cubicBezTo>
                  <a:pt x="5493" y="5432"/>
                  <a:pt x="5486" y="5427"/>
                  <a:pt x="5480" y="5423"/>
                </a:cubicBezTo>
                <a:cubicBezTo>
                  <a:pt x="5464" y="5413"/>
                  <a:pt x="5449" y="5400"/>
                  <a:pt x="5432" y="5393"/>
                </a:cubicBezTo>
                <a:cubicBezTo>
                  <a:pt x="5346" y="5356"/>
                  <a:pt x="5255" y="5351"/>
                  <a:pt x="5162" y="5355"/>
                </a:cubicBezTo>
                <a:cubicBezTo>
                  <a:pt x="5089" y="5358"/>
                  <a:pt x="5018" y="5372"/>
                  <a:pt x="4949" y="5397"/>
                </a:cubicBezTo>
                <a:cubicBezTo>
                  <a:pt x="4932" y="5403"/>
                  <a:pt x="4915" y="5409"/>
                  <a:pt x="4898" y="5413"/>
                </a:cubicBezTo>
                <a:cubicBezTo>
                  <a:pt x="4741" y="5454"/>
                  <a:pt x="4583" y="5494"/>
                  <a:pt x="4427" y="5537"/>
                </a:cubicBezTo>
                <a:cubicBezTo>
                  <a:pt x="4340" y="5560"/>
                  <a:pt x="4250" y="5574"/>
                  <a:pt x="4169" y="5617"/>
                </a:cubicBezTo>
                <a:cubicBezTo>
                  <a:pt x="4151" y="5626"/>
                  <a:pt x="4131" y="5632"/>
                  <a:pt x="4111" y="5637"/>
                </a:cubicBezTo>
                <a:cubicBezTo>
                  <a:pt x="4085" y="5644"/>
                  <a:pt x="4057" y="5646"/>
                  <a:pt x="4038" y="5670"/>
                </a:cubicBezTo>
                <a:cubicBezTo>
                  <a:pt x="4035" y="5673"/>
                  <a:pt x="4030" y="5674"/>
                  <a:pt x="4025" y="5676"/>
                </a:cubicBezTo>
                <a:cubicBezTo>
                  <a:pt x="3890" y="5736"/>
                  <a:pt x="3755" y="5736"/>
                  <a:pt x="3620" y="5676"/>
                </a:cubicBezTo>
                <a:cubicBezTo>
                  <a:pt x="3442" y="5596"/>
                  <a:pt x="3265" y="5516"/>
                  <a:pt x="3087" y="5437"/>
                </a:cubicBezTo>
                <a:cubicBezTo>
                  <a:pt x="2981" y="5389"/>
                  <a:pt x="2875" y="5342"/>
                  <a:pt x="2769" y="5295"/>
                </a:cubicBezTo>
                <a:cubicBezTo>
                  <a:pt x="2744" y="5283"/>
                  <a:pt x="2733" y="5266"/>
                  <a:pt x="2736" y="5244"/>
                </a:cubicBezTo>
                <a:cubicBezTo>
                  <a:pt x="2741" y="5210"/>
                  <a:pt x="2772" y="5195"/>
                  <a:pt x="2807" y="5210"/>
                </a:cubicBezTo>
                <a:cubicBezTo>
                  <a:pt x="2981" y="5283"/>
                  <a:pt x="3155" y="5357"/>
                  <a:pt x="3329" y="5430"/>
                </a:cubicBezTo>
                <a:cubicBezTo>
                  <a:pt x="3412" y="5465"/>
                  <a:pt x="3495" y="5501"/>
                  <a:pt x="3578" y="5536"/>
                </a:cubicBezTo>
                <a:cubicBezTo>
                  <a:pt x="3631" y="5558"/>
                  <a:pt x="3688" y="5555"/>
                  <a:pt x="3744" y="5553"/>
                </a:cubicBezTo>
                <a:cubicBezTo>
                  <a:pt x="3826" y="5551"/>
                  <a:pt x="3894" y="5515"/>
                  <a:pt x="3952" y="5458"/>
                </a:cubicBezTo>
                <a:cubicBezTo>
                  <a:pt x="3961" y="5449"/>
                  <a:pt x="3963" y="5433"/>
                  <a:pt x="3969" y="5421"/>
                </a:cubicBezTo>
                <a:cubicBezTo>
                  <a:pt x="3973" y="5411"/>
                  <a:pt x="3976" y="5401"/>
                  <a:pt x="3981" y="5392"/>
                </a:cubicBezTo>
                <a:cubicBezTo>
                  <a:pt x="3990" y="5377"/>
                  <a:pt x="4002" y="5363"/>
                  <a:pt x="4010" y="5347"/>
                </a:cubicBezTo>
                <a:cubicBezTo>
                  <a:pt x="4031" y="5303"/>
                  <a:pt x="4033" y="5255"/>
                  <a:pt x="4021" y="5209"/>
                </a:cubicBezTo>
                <a:cubicBezTo>
                  <a:pt x="4011" y="5170"/>
                  <a:pt x="3987" y="5137"/>
                  <a:pt x="3956" y="5109"/>
                </a:cubicBezTo>
                <a:cubicBezTo>
                  <a:pt x="3923" y="5080"/>
                  <a:pt x="3894" y="5047"/>
                  <a:pt x="3862" y="5017"/>
                </a:cubicBezTo>
                <a:cubicBezTo>
                  <a:pt x="3847" y="5003"/>
                  <a:pt x="3830" y="4990"/>
                  <a:pt x="3813" y="4980"/>
                </a:cubicBezTo>
                <a:cubicBezTo>
                  <a:pt x="3438" y="4779"/>
                  <a:pt x="3062" y="4579"/>
                  <a:pt x="2688" y="4377"/>
                </a:cubicBezTo>
                <a:cubicBezTo>
                  <a:pt x="2574" y="4315"/>
                  <a:pt x="2455" y="4275"/>
                  <a:pt x="2325" y="4271"/>
                </a:cubicBezTo>
                <a:cubicBezTo>
                  <a:pt x="2313" y="4271"/>
                  <a:pt x="2301" y="4270"/>
                  <a:pt x="2290" y="4265"/>
                </a:cubicBezTo>
                <a:cubicBezTo>
                  <a:pt x="2250" y="4248"/>
                  <a:pt x="2208" y="4245"/>
                  <a:pt x="2165" y="4252"/>
                </a:cubicBezTo>
                <a:cubicBezTo>
                  <a:pt x="2136" y="4257"/>
                  <a:pt x="2107" y="4268"/>
                  <a:pt x="2078" y="4269"/>
                </a:cubicBezTo>
                <a:cubicBezTo>
                  <a:pt x="1974" y="4274"/>
                  <a:pt x="1873" y="4292"/>
                  <a:pt x="1775" y="4325"/>
                </a:cubicBezTo>
                <a:cubicBezTo>
                  <a:pt x="1706" y="4349"/>
                  <a:pt x="1635" y="4368"/>
                  <a:pt x="1570" y="4399"/>
                </a:cubicBezTo>
                <a:cubicBezTo>
                  <a:pt x="1355" y="4503"/>
                  <a:pt x="1143" y="4611"/>
                  <a:pt x="929" y="4718"/>
                </a:cubicBezTo>
                <a:cubicBezTo>
                  <a:pt x="862" y="4751"/>
                  <a:pt x="794" y="4785"/>
                  <a:pt x="726" y="4819"/>
                </a:cubicBezTo>
                <a:close/>
                <a:moveTo>
                  <a:pt x="2920" y="2761"/>
                </a:moveTo>
                <a:cubicBezTo>
                  <a:pt x="2918" y="2759"/>
                  <a:pt x="2917" y="2756"/>
                  <a:pt x="2916" y="2754"/>
                </a:cubicBezTo>
                <a:cubicBezTo>
                  <a:pt x="2878" y="2695"/>
                  <a:pt x="2839" y="2637"/>
                  <a:pt x="2802" y="2576"/>
                </a:cubicBezTo>
                <a:cubicBezTo>
                  <a:pt x="2752" y="2492"/>
                  <a:pt x="2693" y="2416"/>
                  <a:pt x="2617" y="2353"/>
                </a:cubicBezTo>
                <a:cubicBezTo>
                  <a:pt x="2591" y="2331"/>
                  <a:pt x="2564" y="2310"/>
                  <a:pt x="2546" y="2279"/>
                </a:cubicBezTo>
                <a:cubicBezTo>
                  <a:pt x="2543" y="2274"/>
                  <a:pt x="2537" y="2269"/>
                  <a:pt x="2532" y="2266"/>
                </a:cubicBezTo>
                <a:cubicBezTo>
                  <a:pt x="2478" y="2234"/>
                  <a:pt x="2426" y="2199"/>
                  <a:pt x="2370" y="2171"/>
                </a:cubicBezTo>
                <a:cubicBezTo>
                  <a:pt x="2268" y="2119"/>
                  <a:pt x="2158" y="2089"/>
                  <a:pt x="2045" y="2065"/>
                </a:cubicBezTo>
                <a:cubicBezTo>
                  <a:pt x="1935" y="2041"/>
                  <a:pt x="1826" y="2041"/>
                  <a:pt x="1716" y="2041"/>
                </a:cubicBezTo>
                <a:cubicBezTo>
                  <a:pt x="1703" y="2041"/>
                  <a:pt x="1691" y="2041"/>
                  <a:pt x="1678" y="2041"/>
                </a:cubicBezTo>
                <a:cubicBezTo>
                  <a:pt x="1672" y="2041"/>
                  <a:pt x="1666" y="2040"/>
                  <a:pt x="1660" y="2039"/>
                </a:cubicBezTo>
                <a:cubicBezTo>
                  <a:pt x="1634" y="2035"/>
                  <a:pt x="1618" y="2015"/>
                  <a:pt x="1619" y="1991"/>
                </a:cubicBezTo>
                <a:cubicBezTo>
                  <a:pt x="1621" y="1966"/>
                  <a:pt x="1639" y="1947"/>
                  <a:pt x="1666" y="1948"/>
                </a:cubicBezTo>
                <a:cubicBezTo>
                  <a:pt x="1780" y="1953"/>
                  <a:pt x="1895" y="1934"/>
                  <a:pt x="2009" y="1966"/>
                </a:cubicBezTo>
                <a:cubicBezTo>
                  <a:pt x="2071" y="1983"/>
                  <a:pt x="2137" y="1989"/>
                  <a:pt x="2199" y="2006"/>
                </a:cubicBezTo>
                <a:cubicBezTo>
                  <a:pt x="2312" y="2035"/>
                  <a:pt x="2415" y="2086"/>
                  <a:pt x="2515" y="2144"/>
                </a:cubicBezTo>
                <a:cubicBezTo>
                  <a:pt x="2563" y="2172"/>
                  <a:pt x="2609" y="2201"/>
                  <a:pt x="2639" y="2248"/>
                </a:cubicBezTo>
                <a:cubicBezTo>
                  <a:pt x="2642" y="2253"/>
                  <a:pt x="2646" y="2256"/>
                  <a:pt x="2650" y="2260"/>
                </a:cubicBezTo>
                <a:cubicBezTo>
                  <a:pt x="2756" y="2344"/>
                  <a:pt x="2839" y="2446"/>
                  <a:pt x="2902" y="2565"/>
                </a:cubicBezTo>
                <a:cubicBezTo>
                  <a:pt x="2906" y="2572"/>
                  <a:pt x="2910" y="2579"/>
                  <a:pt x="2914" y="2585"/>
                </a:cubicBezTo>
                <a:cubicBezTo>
                  <a:pt x="2917" y="2578"/>
                  <a:pt x="2917" y="2573"/>
                  <a:pt x="2916" y="2567"/>
                </a:cubicBezTo>
                <a:cubicBezTo>
                  <a:pt x="2909" y="2477"/>
                  <a:pt x="2874" y="2394"/>
                  <a:pt x="2847" y="2310"/>
                </a:cubicBezTo>
                <a:cubicBezTo>
                  <a:pt x="2816" y="2212"/>
                  <a:pt x="2766" y="2122"/>
                  <a:pt x="2711" y="2034"/>
                </a:cubicBezTo>
                <a:cubicBezTo>
                  <a:pt x="2669" y="1965"/>
                  <a:pt x="2612" y="1908"/>
                  <a:pt x="2561" y="1845"/>
                </a:cubicBezTo>
                <a:cubicBezTo>
                  <a:pt x="2531" y="1808"/>
                  <a:pt x="2500" y="1768"/>
                  <a:pt x="2462" y="1740"/>
                </a:cubicBezTo>
                <a:cubicBezTo>
                  <a:pt x="2396" y="1693"/>
                  <a:pt x="2326" y="1654"/>
                  <a:pt x="2256" y="1615"/>
                </a:cubicBezTo>
                <a:cubicBezTo>
                  <a:pt x="2212" y="1591"/>
                  <a:pt x="2171" y="1560"/>
                  <a:pt x="2118" y="1558"/>
                </a:cubicBezTo>
                <a:cubicBezTo>
                  <a:pt x="2115" y="1558"/>
                  <a:pt x="2112" y="1556"/>
                  <a:pt x="2109" y="1555"/>
                </a:cubicBezTo>
                <a:cubicBezTo>
                  <a:pt x="1993" y="1498"/>
                  <a:pt x="1869" y="1479"/>
                  <a:pt x="1742" y="1474"/>
                </a:cubicBezTo>
                <a:cubicBezTo>
                  <a:pt x="1710" y="1473"/>
                  <a:pt x="1678" y="1470"/>
                  <a:pt x="1648" y="1462"/>
                </a:cubicBezTo>
                <a:cubicBezTo>
                  <a:pt x="1593" y="1448"/>
                  <a:pt x="1539" y="1441"/>
                  <a:pt x="1482" y="1443"/>
                </a:cubicBezTo>
                <a:cubicBezTo>
                  <a:pt x="1432" y="1445"/>
                  <a:pt x="1382" y="1443"/>
                  <a:pt x="1332" y="1443"/>
                </a:cubicBezTo>
                <a:cubicBezTo>
                  <a:pt x="1326" y="1443"/>
                  <a:pt x="1320" y="1443"/>
                  <a:pt x="1315" y="1444"/>
                </a:cubicBezTo>
                <a:cubicBezTo>
                  <a:pt x="1253" y="1460"/>
                  <a:pt x="1191" y="1470"/>
                  <a:pt x="1127" y="1478"/>
                </a:cubicBezTo>
                <a:cubicBezTo>
                  <a:pt x="1039" y="1490"/>
                  <a:pt x="952" y="1513"/>
                  <a:pt x="866" y="1535"/>
                </a:cubicBezTo>
                <a:cubicBezTo>
                  <a:pt x="787" y="1556"/>
                  <a:pt x="710" y="1581"/>
                  <a:pt x="631" y="1605"/>
                </a:cubicBezTo>
                <a:cubicBezTo>
                  <a:pt x="632" y="1609"/>
                  <a:pt x="632" y="1611"/>
                  <a:pt x="632" y="1614"/>
                </a:cubicBezTo>
                <a:cubicBezTo>
                  <a:pt x="677" y="1773"/>
                  <a:pt x="724" y="1931"/>
                  <a:pt x="804" y="2077"/>
                </a:cubicBezTo>
                <a:cubicBezTo>
                  <a:pt x="839" y="2140"/>
                  <a:pt x="869" y="2205"/>
                  <a:pt x="902" y="2269"/>
                </a:cubicBezTo>
                <a:cubicBezTo>
                  <a:pt x="908" y="2282"/>
                  <a:pt x="915" y="2294"/>
                  <a:pt x="924" y="2305"/>
                </a:cubicBezTo>
                <a:cubicBezTo>
                  <a:pt x="974" y="2363"/>
                  <a:pt x="1024" y="2422"/>
                  <a:pt x="1077" y="2478"/>
                </a:cubicBezTo>
                <a:cubicBezTo>
                  <a:pt x="1170" y="2579"/>
                  <a:pt x="1273" y="2668"/>
                  <a:pt x="1393" y="2735"/>
                </a:cubicBezTo>
                <a:cubicBezTo>
                  <a:pt x="1421" y="2751"/>
                  <a:pt x="1452" y="2761"/>
                  <a:pt x="1481" y="2776"/>
                </a:cubicBezTo>
                <a:cubicBezTo>
                  <a:pt x="1543" y="2808"/>
                  <a:pt x="1605" y="2842"/>
                  <a:pt x="1667" y="2875"/>
                </a:cubicBezTo>
                <a:cubicBezTo>
                  <a:pt x="1673" y="2878"/>
                  <a:pt x="1680" y="2880"/>
                  <a:pt x="1687" y="2883"/>
                </a:cubicBezTo>
                <a:cubicBezTo>
                  <a:pt x="1735" y="2898"/>
                  <a:pt x="1783" y="2912"/>
                  <a:pt x="1831" y="2928"/>
                </a:cubicBezTo>
                <a:cubicBezTo>
                  <a:pt x="1911" y="2953"/>
                  <a:pt x="1993" y="2970"/>
                  <a:pt x="2078" y="2966"/>
                </a:cubicBezTo>
                <a:cubicBezTo>
                  <a:pt x="2118" y="2964"/>
                  <a:pt x="2158" y="2967"/>
                  <a:pt x="2198" y="2965"/>
                </a:cubicBezTo>
                <a:cubicBezTo>
                  <a:pt x="2250" y="2963"/>
                  <a:pt x="2302" y="2959"/>
                  <a:pt x="2355" y="2954"/>
                </a:cubicBezTo>
                <a:cubicBezTo>
                  <a:pt x="2412" y="2948"/>
                  <a:pt x="2469" y="2932"/>
                  <a:pt x="2528" y="2937"/>
                </a:cubicBezTo>
                <a:cubicBezTo>
                  <a:pt x="2537" y="2938"/>
                  <a:pt x="2545" y="2934"/>
                  <a:pt x="2553" y="2931"/>
                </a:cubicBezTo>
                <a:cubicBezTo>
                  <a:pt x="2604" y="2911"/>
                  <a:pt x="2654" y="2890"/>
                  <a:pt x="2704" y="2869"/>
                </a:cubicBezTo>
                <a:cubicBezTo>
                  <a:pt x="2778" y="2839"/>
                  <a:pt x="2854" y="2813"/>
                  <a:pt x="2920" y="2761"/>
                </a:cubicBezTo>
                <a:close/>
                <a:moveTo>
                  <a:pt x="2462" y="1252"/>
                </a:moveTo>
                <a:cubicBezTo>
                  <a:pt x="2463" y="1243"/>
                  <a:pt x="2464" y="1236"/>
                  <a:pt x="2465" y="1230"/>
                </a:cubicBezTo>
                <a:cubicBezTo>
                  <a:pt x="2470" y="1201"/>
                  <a:pt x="2468" y="1170"/>
                  <a:pt x="2480" y="1144"/>
                </a:cubicBezTo>
                <a:cubicBezTo>
                  <a:pt x="2503" y="1091"/>
                  <a:pt x="2507" y="1035"/>
                  <a:pt x="2504" y="980"/>
                </a:cubicBezTo>
                <a:cubicBezTo>
                  <a:pt x="2499" y="897"/>
                  <a:pt x="2489" y="815"/>
                  <a:pt x="2476" y="733"/>
                </a:cubicBezTo>
                <a:cubicBezTo>
                  <a:pt x="2467" y="673"/>
                  <a:pt x="2463" y="611"/>
                  <a:pt x="2415" y="563"/>
                </a:cubicBezTo>
                <a:cubicBezTo>
                  <a:pt x="2393" y="541"/>
                  <a:pt x="2378" y="511"/>
                  <a:pt x="2361" y="484"/>
                </a:cubicBezTo>
                <a:cubicBezTo>
                  <a:pt x="2324" y="431"/>
                  <a:pt x="2273" y="392"/>
                  <a:pt x="2225" y="350"/>
                </a:cubicBezTo>
                <a:cubicBezTo>
                  <a:pt x="2203" y="332"/>
                  <a:pt x="2185" y="310"/>
                  <a:pt x="2162" y="295"/>
                </a:cubicBezTo>
                <a:cubicBezTo>
                  <a:pt x="2123" y="269"/>
                  <a:pt x="2081" y="247"/>
                  <a:pt x="2040" y="224"/>
                </a:cubicBezTo>
                <a:cubicBezTo>
                  <a:pt x="2014" y="209"/>
                  <a:pt x="1989" y="192"/>
                  <a:pt x="1961" y="184"/>
                </a:cubicBezTo>
                <a:cubicBezTo>
                  <a:pt x="1894" y="164"/>
                  <a:pt x="1826" y="148"/>
                  <a:pt x="1758" y="133"/>
                </a:cubicBezTo>
                <a:cubicBezTo>
                  <a:pt x="1699" y="120"/>
                  <a:pt x="1642" y="97"/>
                  <a:pt x="1579" y="100"/>
                </a:cubicBezTo>
                <a:cubicBezTo>
                  <a:pt x="1525" y="102"/>
                  <a:pt x="1525" y="100"/>
                  <a:pt x="1511" y="152"/>
                </a:cubicBezTo>
                <a:cubicBezTo>
                  <a:pt x="1483" y="256"/>
                  <a:pt x="1476" y="362"/>
                  <a:pt x="1489" y="470"/>
                </a:cubicBezTo>
                <a:cubicBezTo>
                  <a:pt x="1494" y="507"/>
                  <a:pt x="1504" y="543"/>
                  <a:pt x="1505" y="580"/>
                </a:cubicBezTo>
                <a:cubicBezTo>
                  <a:pt x="1507" y="650"/>
                  <a:pt x="1525" y="716"/>
                  <a:pt x="1547" y="782"/>
                </a:cubicBezTo>
                <a:cubicBezTo>
                  <a:pt x="1569" y="852"/>
                  <a:pt x="1588" y="926"/>
                  <a:pt x="1640" y="980"/>
                </a:cubicBezTo>
                <a:cubicBezTo>
                  <a:pt x="1702" y="1046"/>
                  <a:pt x="1770" y="1107"/>
                  <a:pt x="1837" y="1169"/>
                </a:cubicBezTo>
                <a:cubicBezTo>
                  <a:pt x="1858" y="1187"/>
                  <a:pt x="1883" y="1206"/>
                  <a:pt x="1909" y="1213"/>
                </a:cubicBezTo>
                <a:cubicBezTo>
                  <a:pt x="2032" y="1249"/>
                  <a:pt x="2153" y="1293"/>
                  <a:pt x="2281" y="1313"/>
                </a:cubicBezTo>
                <a:cubicBezTo>
                  <a:pt x="2319" y="1318"/>
                  <a:pt x="2357" y="1326"/>
                  <a:pt x="2399" y="1333"/>
                </a:cubicBezTo>
                <a:cubicBezTo>
                  <a:pt x="2393" y="1323"/>
                  <a:pt x="2390" y="1317"/>
                  <a:pt x="2387" y="1311"/>
                </a:cubicBezTo>
                <a:cubicBezTo>
                  <a:pt x="2338" y="1230"/>
                  <a:pt x="2288" y="1148"/>
                  <a:pt x="2240" y="1067"/>
                </a:cubicBezTo>
                <a:cubicBezTo>
                  <a:pt x="2209" y="1016"/>
                  <a:pt x="2169" y="974"/>
                  <a:pt x="2120" y="941"/>
                </a:cubicBezTo>
                <a:cubicBezTo>
                  <a:pt x="2109" y="933"/>
                  <a:pt x="2101" y="921"/>
                  <a:pt x="2092" y="910"/>
                </a:cubicBezTo>
                <a:cubicBezTo>
                  <a:pt x="2087" y="905"/>
                  <a:pt x="2083" y="897"/>
                  <a:pt x="2077" y="892"/>
                </a:cubicBezTo>
                <a:cubicBezTo>
                  <a:pt x="2028" y="851"/>
                  <a:pt x="1979" y="810"/>
                  <a:pt x="1930" y="769"/>
                </a:cubicBezTo>
                <a:cubicBezTo>
                  <a:pt x="1904" y="748"/>
                  <a:pt x="1900" y="719"/>
                  <a:pt x="1918" y="698"/>
                </a:cubicBezTo>
                <a:cubicBezTo>
                  <a:pt x="1935" y="677"/>
                  <a:pt x="1964" y="677"/>
                  <a:pt x="1989" y="697"/>
                </a:cubicBezTo>
                <a:cubicBezTo>
                  <a:pt x="2025" y="727"/>
                  <a:pt x="2061" y="756"/>
                  <a:pt x="2096" y="787"/>
                </a:cubicBezTo>
                <a:cubicBezTo>
                  <a:pt x="2133" y="819"/>
                  <a:pt x="2167" y="854"/>
                  <a:pt x="2205" y="886"/>
                </a:cubicBezTo>
                <a:cubicBezTo>
                  <a:pt x="2257" y="932"/>
                  <a:pt x="2300" y="984"/>
                  <a:pt x="2335" y="1044"/>
                </a:cubicBezTo>
                <a:cubicBezTo>
                  <a:pt x="2375" y="1113"/>
                  <a:pt x="2418" y="1181"/>
                  <a:pt x="2462" y="1252"/>
                </a:cubicBezTo>
                <a:close/>
                <a:moveTo>
                  <a:pt x="5913" y="1337"/>
                </a:moveTo>
                <a:cubicBezTo>
                  <a:pt x="5959" y="1387"/>
                  <a:pt x="6003" y="1433"/>
                  <a:pt x="6046" y="1479"/>
                </a:cubicBezTo>
                <a:cubicBezTo>
                  <a:pt x="6078" y="1450"/>
                  <a:pt x="6109" y="1421"/>
                  <a:pt x="6142" y="1394"/>
                </a:cubicBezTo>
                <a:cubicBezTo>
                  <a:pt x="6194" y="1352"/>
                  <a:pt x="6251" y="1319"/>
                  <a:pt x="6317" y="1303"/>
                </a:cubicBezTo>
                <a:cubicBezTo>
                  <a:pt x="6345" y="1296"/>
                  <a:pt x="6369" y="1309"/>
                  <a:pt x="6375" y="1334"/>
                </a:cubicBezTo>
                <a:cubicBezTo>
                  <a:pt x="6382" y="1360"/>
                  <a:pt x="6367" y="1380"/>
                  <a:pt x="6340" y="1392"/>
                </a:cubicBezTo>
                <a:cubicBezTo>
                  <a:pt x="6302" y="1408"/>
                  <a:pt x="6263" y="1423"/>
                  <a:pt x="6230" y="1446"/>
                </a:cubicBezTo>
                <a:cubicBezTo>
                  <a:pt x="6186" y="1476"/>
                  <a:pt x="6146" y="1514"/>
                  <a:pt x="6104" y="1549"/>
                </a:cubicBezTo>
                <a:cubicBezTo>
                  <a:pt x="6217" y="1688"/>
                  <a:pt x="6312" y="1832"/>
                  <a:pt x="6393" y="1984"/>
                </a:cubicBezTo>
                <a:cubicBezTo>
                  <a:pt x="6395" y="1984"/>
                  <a:pt x="6396" y="1984"/>
                  <a:pt x="6397" y="1983"/>
                </a:cubicBezTo>
                <a:cubicBezTo>
                  <a:pt x="6490" y="1912"/>
                  <a:pt x="6582" y="1841"/>
                  <a:pt x="6643" y="1739"/>
                </a:cubicBezTo>
                <a:cubicBezTo>
                  <a:pt x="6649" y="1729"/>
                  <a:pt x="6657" y="1718"/>
                  <a:pt x="6667" y="1712"/>
                </a:cubicBezTo>
                <a:cubicBezTo>
                  <a:pt x="6720" y="1682"/>
                  <a:pt x="6746" y="1632"/>
                  <a:pt x="6767" y="1578"/>
                </a:cubicBezTo>
                <a:cubicBezTo>
                  <a:pt x="6782" y="1539"/>
                  <a:pt x="6794" y="1499"/>
                  <a:pt x="6805" y="1459"/>
                </a:cubicBezTo>
                <a:cubicBezTo>
                  <a:pt x="6821" y="1401"/>
                  <a:pt x="6839" y="1344"/>
                  <a:pt x="6848" y="1285"/>
                </a:cubicBezTo>
                <a:cubicBezTo>
                  <a:pt x="6854" y="1251"/>
                  <a:pt x="6859" y="1219"/>
                  <a:pt x="6876" y="1190"/>
                </a:cubicBezTo>
                <a:cubicBezTo>
                  <a:pt x="6880" y="1183"/>
                  <a:pt x="6880" y="1174"/>
                  <a:pt x="6880" y="1166"/>
                </a:cubicBezTo>
                <a:cubicBezTo>
                  <a:pt x="6880" y="1100"/>
                  <a:pt x="6880" y="1033"/>
                  <a:pt x="6880" y="967"/>
                </a:cubicBezTo>
                <a:cubicBezTo>
                  <a:pt x="6880" y="960"/>
                  <a:pt x="6880" y="954"/>
                  <a:pt x="6879" y="942"/>
                </a:cubicBezTo>
                <a:cubicBezTo>
                  <a:pt x="6811" y="946"/>
                  <a:pt x="6744" y="945"/>
                  <a:pt x="6679" y="954"/>
                </a:cubicBezTo>
                <a:cubicBezTo>
                  <a:pt x="6612" y="964"/>
                  <a:pt x="6546" y="984"/>
                  <a:pt x="6479" y="999"/>
                </a:cubicBezTo>
                <a:cubicBezTo>
                  <a:pt x="6322" y="1034"/>
                  <a:pt x="6177" y="1098"/>
                  <a:pt x="6052" y="1200"/>
                </a:cubicBezTo>
                <a:cubicBezTo>
                  <a:pt x="6002" y="1241"/>
                  <a:pt x="5959" y="1291"/>
                  <a:pt x="5913" y="1337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 dirty="0"/>
          </a:p>
        </p:txBody>
      </p:sp>
      <p:sp>
        <p:nvSpPr>
          <p:cNvPr id="50" name="任意多边形: 形状 49"/>
          <p:cNvSpPr/>
          <p:nvPr/>
        </p:nvSpPr>
        <p:spPr bwMode="auto">
          <a:xfrm>
            <a:off x="8019453" y="3733847"/>
            <a:ext cx="222763" cy="62652"/>
          </a:xfrm>
          <a:custGeom>
            <a:avLst/>
            <a:gdLst>
              <a:gd name="T0" fmla="*/ 284 w 2131"/>
              <a:gd name="T1" fmla="*/ 0 h 598"/>
              <a:gd name="T2" fmla="*/ 575 w 2131"/>
              <a:gd name="T3" fmla="*/ 7 h 598"/>
              <a:gd name="T4" fmla="*/ 907 w 2131"/>
              <a:gd name="T5" fmla="*/ 46 h 598"/>
              <a:gd name="T6" fmla="*/ 1395 w 2131"/>
              <a:gd name="T7" fmla="*/ 166 h 598"/>
              <a:gd name="T8" fmla="*/ 2094 w 2131"/>
              <a:gd name="T9" fmla="*/ 502 h 598"/>
              <a:gd name="T10" fmla="*/ 2116 w 2131"/>
              <a:gd name="T11" fmla="*/ 571 h 598"/>
              <a:gd name="T12" fmla="*/ 2044 w 2131"/>
              <a:gd name="T13" fmla="*/ 580 h 598"/>
              <a:gd name="T14" fmla="*/ 1336 w 2131"/>
              <a:gd name="T15" fmla="*/ 245 h 598"/>
              <a:gd name="T16" fmla="*/ 849 w 2131"/>
              <a:gd name="T17" fmla="*/ 130 h 598"/>
              <a:gd name="T18" fmla="*/ 286 w 2131"/>
              <a:gd name="T19" fmla="*/ 94 h 598"/>
              <a:gd name="T20" fmla="*/ 56 w 2131"/>
              <a:gd name="T21" fmla="*/ 94 h 598"/>
              <a:gd name="T22" fmla="*/ 6 w 2131"/>
              <a:gd name="T23" fmla="*/ 62 h 598"/>
              <a:gd name="T24" fmla="*/ 22 w 2131"/>
              <a:gd name="T25" fmla="*/ 11 h 598"/>
              <a:gd name="T26" fmla="*/ 56 w 2131"/>
              <a:gd name="T27" fmla="*/ 2 h 598"/>
              <a:gd name="T28" fmla="*/ 284 w 2131"/>
              <a:gd name="T29" fmla="*/ 2 h 598"/>
              <a:gd name="T30" fmla="*/ 284 w 2131"/>
              <a:gd name="T31" fmla="*/ 0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31" h="598">
                <a:moveTo>
                  <a:pt x="284" y="0"/>
                </a:moveTo>
                <a:cubicBezTo>
                  <a:pt x="381" y="2"/>
                  <a:pt x="478" y="0"/>
                  <a:pt x="575" y="7"/>
                </a:cubicBezTo>
                <a:cubicBezTo>
                  <a:pt x="686" y="16"/>
                  <a:pt x="797" y="30"/>
                  <a:pt x="907" y="46"/>
                </a:cubicBezTo>
                <a:cubicBezTo>
                  <a:pt x="1073" y="70"/>
                  <a:pt x="1235" y="113"/>
                  <a:pt x="1395" y="166"/>
                </a:cubicBezTo>
                <a:cubicBezTo>
                  <a:pt x="1642" y="249"/>
                  <a:pt x="1875" y="361"/>
                  <a:pt x="2094" y="502"/>
                </a:cubicBezTo>
                <a:cubicBezTo>
                  <a:pt x="2123" y="521"/>
                  <a:pt x="2131" y="546"/>
                  <a:pt x="2116" y="571"/>
                </a:cubicBezTo>
                <a:cubicBezTo>
                  <a:pt x="2101" y="594"/>
                  <a:pt x="2072" y="598"/>
                  <a:pt x="2044" y="580"/>
                </a:cubicBezTo>
                <a:cubicBezTo>
                  <a:pt x="1822" y="438"/>
                  <a:pt x="1586" y="326"/>
                  <a:pt x="1336" y="245"/>
                </a:cubicBezTo>
                <a:cubicBezTo>
                  <a:pt x="1176" y="193"/>
                  <a:pt x="1014" y="155"/>
                  <a:pt x="849" y="130"/>
                </a:cubicBezTo>
                <a:cubicBezTo>
                  <a:pt x="662" y="101"/>
                  <a:pt x="475" y="92"/>
                  <a:pt x="286" y="94"/>
                </a:cubicBezTo>
                <a:cubicBezTo>
                  <a:pt x="209" y="95"/>
                  <a:pt x="133" y="94"/>
                  <a:pt x="56" y="94"/>
                </a:cubicBezTo>
                <a:cubicBezTo>
                  <a:pt x="31" y="94"/>
                  <a:pt x="13" y="82"/>
                  <a:pt x="6" y="62"/>
                </a:cubicBezTo>
                <a:cubicBezTo>
                  <a:pt x="0" y="43"/>
                  <a:pt x="5" y="22"/>
                  <a:pt x="22" y="11"/>
                </a:cubicBezTo>
                <a:cubicBezTo>
                  <a:pt x="32" y="5"/>
                  <a:pt x="44" y="2"/>
                  <a:pt x="56" y="2"/>
                </a:cubicBezTo>
                <a:cubicBezTo>
                  <a:pt x="132" y="1"/>
                  <a:pt x="208" y="2"/>
                  <a:pt x="284" y="2"/>
                </a:cubicBezTo>
                <a:cubicBezTo>
                  <a:pt x="284" y="1"/>
                  <a:pt x="284" y="0"/>
                  <a:pt x="284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1" name="任意多边形: 形状 50"/>
          <p:cNvSpPr/>
          <p:nvPr/>
        </p:nvSpPr>
        <p:spPr bwMode="auto">
          <a:xfrm>
            <a:off x="7984646" y="3740809"/>
            <a:ext cx="13922" cy="9746"/>
          </a:xfrm>
          <a:custGeom>
            <a:avLst/>
            <a:gdLst>
              <a:gd name="T0" fmla="*/ 70 w 141"/>
              <a:gd name="T1" fmla="*/ 94 h 94"/>
              <a:gd name="T2" fmla="*/ 46 w 141"/>
              <a:gd name="T3" fmla="*/ 94 h 94"/>
              <a:gd name="T4" fmla="*/ 0 w 141"/>
              <a:gd name="T5" fmla="*/ 48 h 94"/>
              <a:gd name="T6" fmla="*/ 46 w 141"/>
              <a:gd name="T7" fmla="*/ 2 h 94"/>
              <a:gd name="T8" fmla="*/ 98 w 141"/>
              <a:gd name="T9" fmla="*/ 2 h 94"/>
              <a:gd name="T10" fmla="*/ 140 w 141"/>
              <a:gd name="T11" fmla="*/ 49 h 94"/>
              <a:gd name="T12" fmla="*/ 96 w 141"/>
              <a:gd name="T13" fmla="*/ 94 h 94"/>
              <a:gd name="T14" fmla="*/ 70 w 141"/>
              <a:gd name="T15" fmla="*/ 94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" h="94">
                <a:moveTo>
                  <a:pt x="70" y="94"/>
                </a:moveTo>
                <a:cubicBezTo>
                  <a:pt x="62" y="94"/>
                  <a:pt x="54" y="94"/>
                  <a:pt x="46" y="94"/>
                </a:cubicBezTo>
                <a:cubicBezTo>
                  <a:pt x="20" y="92"/>
                  <a:pt x="1" y="73"/>
                  <a:pt x="0" y="48"/>
                </a:cubicBezTo>
                <a:cubicBezTo>
                  <a:pt x="0" y="25"/>
                  <a:pt x="21" y="3"/>
                  <a:pt x="46" y="2"/>
                </a:cubicBezTo>
                <a:cubicBezTo>
                  <a:pt x="63" y="1"/>
                  <a:pt x="80" y="0"/>
                  <a:pt x="98" y="2"/>
                </a:cubicBezTo>
                <a:cubicBezTo>
                  <a:pt x="124" y="3"/>
                  <a:pt x="141" y="23"/>
                  <a:pt x="140" y="49"/>
                </a:cubicBezTo>
                <a:cubicBezTo>
                  <a:pt x="140" y="74"/>
                  <a:pt x="122" y="92"/>
                  <a:pt x="96" y="94"/>
                </a:cubicBezTo>
                <a:cubicBezTo>
                  <a:pt x="88" y="94"/>
                  <a:pt x="79" y="94"/>
                  <a:pt x="70" y="94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spAutoFit/>
          </a:bodyPr>
          <a:lstStyle/>
          <a:p>
            <a:endParaRPr lang="zh-CN" altLang="en-US"/>
          </a:p>
        </p:txBody>
      </p:sp>
      <p:grpSp>
        <p:nvGrpSpPr>
          <p:cNvPr id="19" name="组合 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 flipH="1">
            <a:off x="-46443" y="4437035"/>
            <a:ext cx="3379713" cy="2339129"/>
            <a:chOff x="3338513" y="1390650"/>
            <a:chExt cx="6135687" cy="4246563"/>
          </a:xfrm>
        </p:grpSpPr>
        <p:sp>
          <p:nvSpPr>
            <p:cNvPr id="35" name="íşḷíḓê"/>
            <p:cNvSpPr/>
            <p:nvPr/>
          </p:nvSpPr>
          <p:spPr bwMode="auto">
            <a:xfrm>
              <a:off x="8556625" y="2125663"/>
              <a:ext cx="736600" cy="879475"/>
            </a:xfrm>
            <a:custGeom>
              <a:avLst/>
              <a:gdLst>
                <a:gd name="T0" fmla="*/ 464 w 464"/>
                <a:gd name="T1" fmla="*/ 109 h 554"/>
                <a:gd name="T2" fmla="*/ 161 w 464"/>
                <a:gd name="T3" fmla="*/ 554 h 554"/>
                <a:gd name="T4" fmla="*/ 0 w 464"/>
                <a:gd name="T5" fmla="*/ 445 h 554"/>
                <a:gd name="T6" fmla="*/ 301 w 464"/>
                <a:gd name="T7" fmla="*/ 0 h 554"/>
                <a:gd name="T8" fmla="*/ 464 w 464"/>
                <a:gd name="T9" fmla="*/ 109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4" h="554">
                  <a:moveTo>
                    <a:pt x="464" y="109"/>
                  </a:moveTo>
                  <a:lnTo>
                    <a:pt x="161" y="554"/>
                  </a:lnTo>
                  <a:lnTo>
                    <a:pt x="0" y="445"/>
                  </a:lnTo>
                  <a:lnTo>
                    <a:pt x="301" y="0"/>
                  </a:lnTo>
                  <a:lnTo>
                    <a:pt x="464" y="109"/>
                  </a:lnTo>
                  <a:close/>
                </a:path>
              </a:pathLst>
            </a:custGeom>
            <a:solidFill>
              <a:srgbClr val="1313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iSlíḑê"/>
            <p:cNvSpPr/>
            <p:nvPr/>
          </p:nvSpPr>
          <p:spPr bwMode="auto">
            <a:xfrm>
              <a:off x="8556625" y="2125663"/>
              <a:ext cx="736600" cy="879475"/>
            </a:xfrm>
            <a:custGeom>
              <a:avLst/>
              <a:gdLst>
                <a:gd name="T0" fmla="*/ 464 w 464"/>
                <a:gd name="T1" fmla="*/ 109 h 554"/>
                <a:gd name="T2" fmla="*/ 161 w 464"/>
                <a:gd name="T3" fmla="*/ 554 h 554"/>
                <a:gd name="T4" fmla="*/ 0 w 464"/>
                <a:gd name="T5" fmla="*/ 445 h 554"/>
                <a:gd name="T6" fmla="*/ 301 w 464"/>
                <a:gd name="T7" fmla="*/ 0 h 554"/>
                <a:gd name="T8" fmla="*/ 464 w 464"/>
                <a:gd name="T9" fmla="*/ 109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4" h="554">
                  <a:moveTo>
                    <a:pt x="464" y="109"/>
                  </a:moveTo>
                  <a:lnTo>
                    <a:pt x="161" y="554"/>
                  </a:lnTo>
                  <a:lnTo>
                    <a:pt x="0" y="445"/>
                  </a:lnTo>
                  <a:lnTo>
                    <a:pt x="301" y="0"/>
                  </a:lnTo>
                  <a:lnTo>
                    <a:pt x="464" y="10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$lídé"/>
            <p:cNvSpPr/>
            <p:nvPr/>
          </p:nvSpPr>
          <p:spPr bwMode="auto">
            <a:xfrm>
              <a:off x="8628063" y="2173288"/>
              <a:ext cx="735012" cy="879475"/>
            </a:xfrm>
            <a:custGeom>
              <a:avLst/>
              <a:gdLst>
                <a:gd name="T0" fmla="*/ 463 w 463"/>
                <a:gd name="T1" fmla="*/ 109 h 554"/>
                <a:gd name="T2" fmla="*/ 162 w 463"/>
                <a:gd name="T3" fmla="*/ 554 h 554"/>
                <a:gd name="T4" fmla="*/ 0 w 463"/>
                <a:gd name="T5" fmla="*/ 445 h 554"/>
                <a:gd name="T6" fmla="*/ 302 w 463"/>
                <a:gd name="T7" fmla="*/ 0 h 554"/>
                <a:gd name="T8" fmla="*/ 463 w 463"/>
                <a:gd name="T9" fmla="*/ 109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554">
                  <a:moveTo>
                    <a:pt x="463" y="109"/>
                  </a:moveTo>
                  <a:lnTo>
                    <a:pt x="162" y="554"/>
                  </a:lnTo>
                  <a:lnTo>
                    <a:pt x="0" y="445"/>
                  </a:lnTo>
                  <a:lnTo>
                    <a:pt x="302" y="0"/>
                  </a:lnTo>
                  <a:lnTo>
                    <a:pt x="463" y="1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ŝliďé"/>
            <p:cNvSpPr/>
            <p:nvPr/>
          </p:nvSpPr>
          <p:spPr bwMode="auto">
            <a:xfrm>
              <a:off x="8628063" y="2173288"/>
              <a:ext cx="735012" cy="879475"/>
            </a:xfrm>
            <a:custGeom>
              <a:avLst/>
              <a:gdLst>
                <a:gd name="T0" fmla="*/ 463 w 463"/>
                <a:gd name="T1" fmla="*/ 109 h 554"/>
                <a:gd name="T2" fmla="*/ 162 w 463"/>
                <a:gd name="T3" fmla="*/ 554 h 554"/>
                <a:gd name="T4" fmla="*/ 0 w 463"/>
                <a:gd name="T5" fmla="*/ 445 h 554"/>
                <a:gd name="T6" fmla="*/ 302 w 463"/>
                <a:gd name="T7" fmla="*/ 0 h 554"/>
                <a:gd name="T8" fmla="*/ 463 w 463"/>
                <a:gd name="T9" fmla="*/ 109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554">
                  <a:moveTo>
                    <a:pt x="463" y="109"/>
                  </a:moveTo>
                  <a:lnTo>
                    <a:pt x="162" y="554"/>
                  </a:lnTo>
                  <a:lnTo>
                    <a:pt x="0" y="445"/>
                  </a:lnTo>
                  <a:lnTo>
                    <a:pt x="302" y="0"/>
                  </a:lnTo>
                  <a:lnTo>
                    <a:pt x="463" y="10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ṡľïḋé"/>
            <p:cNvSpPr/>
            <p:nvPr/>
          </p:nvSpPr>
          <p:spPr bwMode="auto">
            <a:xfrm>
              <a:off x="8732838" y="2243138"/>
              <a:ext cx="741362" cy="1212850"/>
            </a:xfrm>
            <a:custGeom>
              <a:avLst/>
              <a:gdLst>
                <a:gd name="T0" fmla="*/ 467 w 467"/>
                <a:gd name="T1" fmla="*/ 113 h 764"/>
                <a:gd name="T2" fmla="*/ 301 w 467"/>
                <a:gd name="T3" fmla="*/ 0 h 764"/>
                <a:gd name="T4" fmla="*/ 0 w 467"/>
                <a:gd name="T5" fmla="*/ 447 h 764"/>
                <a:gd name="T6" fmla="*/ 467 w 467"/>
                <a:gd name="T7" fmla="*/ 764 h 764"/>
                <a:gd name="T8" fmla="*/ 467 w 467"/>
                <a:gd name="T9" fmla="*/ 113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764">
                  <a:moveTo>
                    <a:pt x="467" y="113"/>
                  </a:moveTo>
                  <a:lnTo>
                    <a:pt x="301" y="0"/>
                  </a:lnTo>
                  <a:lnTo>
                    <a:pt x="0" y="447"/>
                  </a:lnTo>
                  <a:lnTo>
                    <a:pt x="467" y="764"/>
                  </a:lnTo>
                  <a:lnTo>
                    <a:pt x="467" y="113"/>
                  </a:lnTo>
                  <a:close/>
                </a:path>
              </a:pathLst>
            </a:custGeom>
            <a:solidFill>
              <a:srgbClr val="1313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ṩľîḓê"/>
            <p:cNvSpPr/>
            <p:nvPr/>
          </p:nvSpPr>
          <p:spPr bwMode="auto">
            <a:xfrm>
              <a:off x="8732838" y="2243138"/>
              <a:ext cx="741362" cy="1212850"/>
            </a:xfrm>
            <a:custGeom>
              <a:avLst/>
              <a:gdLst>
                <a:gd name="T0" fmla="*/ 467 w 467"/>
                <a:gd name="T1" fmla="*/ 113 h 764"/>
                <a:gd name="T2" fmla="*/ 301 w 467"/>
                <a:gd name="T3" fmla="*/ 0 h 764"/>
                <a:gd name="T4" fmla="*/ 0 w 467"/>
                <a:gd name="T5" fmla="*/ 447 h 764"/>
                <a:gd name="T6" fmla="*/ 467 w 467"/>
                <a:gd name="T7" fmla="*/ 764 h 764"/>
                <a:gd name="T8" fmla="*/ 467 w 467"/>
                <a:gd name="T9" fmla="*/ 113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764">
                  <a:moveTo>
                    <a:pt x="467" y="113"/>
                  </a:moveTo>
                  <a:lnTo>
                    <a:pt x="301" y="0"/>
                  </a:lnTo>
                  <a:lnTo>
                    <a:pt x="0" y="447"/>
                  </a:lnTo>
                  <a:lnTo>
                    <a:pt x="467" y="764"/>
                  </a:lnTo>
                  <a:lnTo>
                    <a:pt x="467" y="1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išḷíďê"/>
            <p:cNvSpPr/>
            <p:nvPr/>
          </p:nvSpPr>
          <p:spPr bwMode="auto">
            <a:xfrm>
              <a:off x="8926513" y="2859088"/>
              <a:ext cx="111125" cy="111125"/>
            </a:xfrm>
            <a:custGeom>
              <a:avLst/>
              <a:gdLst>
                <a:gd name="T0" fmla="*/ 30 w 32"/>
                <a:gd name="T1" fmla="*/ 19 h 32"/>
                <a:gd name="T2" fmla="*/ 12 w 32"/>
                <a:gd name="T3" fmla="*/ 30 h 32"/>
                <a:gd name="T4" fmla="*/ 2 w 32"/>
                <a:gd name="T5" fmla="*/ 12 h 32"/>
                <a:gd name="T6" fmla="*/ 20 w 32"/>
                <a:gd name="T7" fmla="*/ 2 h 32"/>
                <a:gd name="T8" fmla="*/ 30 w 32"/>
                <a:gd name="T9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30" y="19"/>
                  </a:moveTo>
                  <a:cubicBezTo>
                    <a:pt x="28" y="27"/>
                    <a:pt x="20" y="32"/>
                    <a:pt x="12" y="30"/>
                  </a:cubicBezTo>
                  <a:cubicBezTo>
                    <a:pt x="4" y="28"/>
                    <a:pt x="0" y="20"/>
                    <a:pt x="2" y="12"/>
                  </a:cubicBezTo>
                  <a:cubicBezTo>
                    <a:pt x="4" y="4"/>
                    <a:pt x="12" y="0"/>
                    <a:pt x="20" y="2"/>
                  </a:cubicBezTo>
                  <a:cubicBezTo>
                    <a:pt x="27" y="4"/>
                    <a:pt x="32" y="12"/>
                    <a:pt x="30" y="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Sľîḓè"/>
            <p:cNvSpPr/>
            <p:nvPr/>
          </p:nvSpPr>
          <p:spPr bwMode="auto">
            <a:xfrm>
              <a:off x="9193213" y="2398713"/>
              <a:ext cx="280987" cy="260350"/>
            </a:xfrm>
            <a:custGeom>
              <a:avLst/>
              <a:gdLst>
                <a:gd name="T0" fmla="*/ 16 w 81"/>
                <a:gd name="T1" fmla="*/ 0 h 75"/>
                <a:gd name="T2" fmla="*/ 5 w 81"/>
                <a:gd name="T3" fmla="*/ 6 h 75"/>
                <a:gd name="T4" fmla="*/ 8 w 81"/>
                <a:gd name="T5" fmla="*/ 26 h 75"/>
                <a:gd name="T6" fmla="*/ 81 w 81"/>
                <a:gd name="T7" fmla="*/ 75 h 75"/>
                <a:gd name="T8" fmla="*/ 81 w 81"/>
                <a:gd name="T9" fmla="*/ 41 h 75"/>
                <a:gd name="T10" fmla="*/ 24 w 81"/>
                <a:gd name="T11" fmla="*/ 2 h 75"/>
                <a:gd name="T12" fmla="*/ 16 w 81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75">
                  <a:moveTo>
                    <a:pt x="16" y="0"/>
                  </a:moveTo>
                  <a:cubicBezTo>
                    <a:pt x="12" y="0"/>
                    <a:pt x="7" y="2"/>
                    <a:pt x="5" y="6"/>
                  </a:cubicBezTo>
                  <a:cubicBezTo>
                    <a:pt x="0" y="13"/>
                    <a:pt x="2" y="21"/>
                    <a:pt x="8" y="26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2" y="1"/>
                    <a:pt x="19" y="0"/>
                    <a:pt x="16" y="0"/>
                  </a:cubicBezTo>
                </a:path>
              </a:pathLst>
            </a:custGeom>
            <a:solidFill>
              <a:srgbClr val="8989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ṩľiḓè"/>
            <p:cNvSpPr/>
            <p:nvPr/>
          </p:nvSpPr>
          <p:spPr bwMode="auto">
            <a:xfrm>
              <a:off x="8039100" y="1522413"/>
              <a:ext cx="1001712" cy="1319213"/>
            </a:xfrm>
            <a:custGeom>
              <a:avLst/>
              <a:gdLst>
                <a:gd name="T0" fmla="*/ 154 w 289"/>
                <a:gd name="T1" fmla="*/ 381 h 381"/>
                <a:gd name="T2" fmla="*/ 53 w 289"/>
                <a:gd name="T3" fmla="*/ 307 h 381"/>
                <a:gd name="T4" fmla="*/ 83 w 289"/>
                <a:gd name="T5" fmla="*/ 167 h 381"/>
                <a:gd name="T6" fmla="*/ 76 w 289"/>
                <a:gd name="T7" fmla="*/ 96 h 381"/>
                <a:gd name="T8" fmla="*/ 143 w 289"/>
                <a:gd name="T9" fmla="*/ 9 h 381"/>
                <a:gd name="T10" fmla="*/ 244 w 289"/>
                <a:gd name="T11" fmla="*/ 70 h 381"/>
                <a:gd name="T12" fmla="*/ 273 w 289"/>
                <a:gd name="T13" fmla="*/ 115 h 381"/>
                <a:gd name="T14" fmla="*/ 288 w 289"/>
                <a:gd name="T15" fmla="*/ 160 h 381"/>
                <a:gd name="T16" fmla="*/ 289 w 289"/>
                <a:gd name="T17" fmla="*/ 172 h 381"/>
                <a:gd name="T18" fmla="*/ 154 w 289"/>
                <a:gd name="T19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9" h="381">
                  <a:moveTo>
                    <a:pt x="154" y="381"/>
                  </a:move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91" y="205"/>
                    <a:pt x="83" y="167"/>
                  </a:cubicBezTo>
                  <a:cubicBezTo>
                    <a:pt x="75" y="129"/>
                    <a:pt x="79" y="97"/>
                    <a:pt x="76" y="96"/>
                  </a:cubicBezTo>
                  <a:cubicBezTo>
                    <a:pt x="0" y="62"/>
                    <a:pt x="97" y="0"/>
                    <a:pt x="143" y="9"/>
                  </a:cubicBezTo>
                  <a:cubicBezTo>
                    <a:pt x="189" y="19"/>
                    <a:pt x="235" y="56"/>
                    <a:pt x="244" y="70"/>
                  </a:cubicBezTo>
                  <a:cubicBezTo>
                    <a:pt x="254" y="84"/>
                    <a:pt x="264" y="106"/>
                    <a:pt x="273" y="115"/>
                  </a:cubicBezTo>
                  <a:cubicBezTo>
                    <a:pt x="281" y="124"/>
                    <a:pt x="288" y="160"/>
                    <a:pt x="288" y="160"/>
                  </a:cubicBezTo>
                  <a:cubicBezTo>
                    <a:pt x="289" y="172"/>
                    <a:pt x="289" y="172"/>
                    <a:pt x="289" y="172"/>
                  </a:cubicBezTo>
                  <a:lnTo>
                    <a:pt x="154" y="381"/>
                  </a:lnTo>
                  <a:close/>
                </a:path>
              </a:pathLst>
            </a:custGeom>
            <a:solidFill>
              <a:srgbClr val="FDB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śḻïḓè"/>
            <p:cNvSpPr/>
            <p:nvPr/>
          </p:nvSpPr>
          <p:spPr bwMode="auto">
            <a:xfrm>
              <a:off x="8694738" y="1962150"/>
              <a:ext cx="349250" cy="630238"/>
            </a:xfrm>
            <a:custGeom>
              <a:avLst/>
              <a:gdLst>
                <a:gd name="T0" fmla="*/ 0 w 101"/>
                <a:gd name="T1" fmla="*/ 9 h 182"/>
                <a:gd name="T2" fmla="*/ 7 w 101"/>
                <a:gd name="T3" fmla="*/ 182 h 182"/>
                <a:gd name="T4" fmla="*/ 101 w 101"/>
                <a:gd name="T5" fmla="*/ 48 h 182"/>
                <a:gd name="T6" fmla="*/ 53 w 101"/>
                <a:gd name="T7" fmla="*/ 0 h 182"/>
                <a:gd name="T8" fmla="*/ 0 w 101"/>
                <a:gd name="T9" fmla="*/ 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82">
                  <a:moveTo>
                    <a:pt x="0" y="9"/>
                  </a:moveTo>
                  <a:cubicBezTo>
                    <a:pt x="0" y="9"/>
                    <a:pt x="65" y="94"/>
                    <a:pt x="7" y="182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C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$ḷîḍe"/>
            <p:cNvSpPr/>
            <p:nvPr/>
          </p:nvSpPr>
          <p:spPr bwMode="auto">
            <a:xfrm>
              <a:off x="8399463" y="1474788"/>
              <a:ext cx="644525" cy="654050"/>
            </a:xfrm>
            <a:custGeom>
              <a:avLst/>
              <a:gdLst>
                <a:gd name="T0" fmla="*/ 32 w 186"/>
                <a:gd name="T1" fmla="*/ 46 h 189"/>
                <a:gd name="T2" fmla="*/ 186 w 186"/>
                <a:gd name="T3" fmla="*/ 189 h 189"/>
                <a:gd name="T4" fmla="*/ 116 w 186"/>
                <a:gd name="T5" fmla="*/ 37 h 189"/>
                <a:gd name="T6" fmla="*/ 31 w 186"/>
                <a:gd name="T7" fmla="*/ 8 h 189"/>
                <a:gd name="T8" fmla="*/ 2 w 186"/>
                <a:gd name="T9" fmla="*/ 1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89">
                  <a:moveTo>
                    <a:pt x="32" y="46"/>
                  </a:moveTo>
                  <a:cubicBezTo>
                    <a:pt x="32" y="46"/>
                    <a:pt x="35" y="172"/>
                    <a:pt x="186" y="189"/>
                  </a:cubicBezTo>
                  <a:cubicBezTo>
                    <a:pt x="186" y="189"/>
                    <a:pt x="151" y="48"/>
                    <a:pt x="116" y="37"/>
                  </a:cubicBezTo>
                  <a:cubicBezTo>
                    <a:pt x="82" y="27"/>
                    <a:pt x="61" y="17"/>
                    <a:pt x="31" y="8"/>
                  </a:cubicBezTo>
                  <a:cubicBezTo>
                    <a:pt x="0" y="0"/>
                    <a:pt x="2" y="1"/>
                    <a:pt x="2" y="1"/>
                  </a:cubicBezTo>
                </a:path>
              </a:pathLst>
            </a:custGeom>
            <a:solidFill>
              <a:srgbClr val="FFC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sľîdè"/>
            <p:cNvSpPr/>
            <p:nvPr/>
          </p:nvSpPr>
          <p:spPr bwMode="auto">
            <a:xfrm>
              <a:off x="8493125" y="1554163"/>
              <a:ext cx="301625" cy="1008063"/>
            </a:xfrm>
            <a:custGeom>
              <a:avLst/>
              <a:gdLst>
                <a:gd name="T0" fmla="*/ 6 w 87"/>
                <a:gd name="T1" fmla="*/ 41 h 291"/>
                <a:gd name="T2" fmla="*/ 0 w 87"/>
                <a:gd name="T3" fmla="*/ 0 h 291"/>
                <a:gd name="T4" fmla="*/ 85 w 87"/>
                <a:gd name="T5" fmla="*/ 184 h 291"/>
                <a:gd name="T6" fmla="*/ 85 w 87"/>
                <a:gd name="T7" fmla="*/ 187 h 291"/>
                <a:gd name="T8" fmla="*/ 64 w 87"/>
                <a:gd name="T9" fmla="*/ 171 h 291"/>
                <a:gd name="T10" fmla="*/ 53 w 87"/>
                <a:gd name="T11" fmla="*/ 147 h 291"/>
                <a:gd name="T12" fmla="*/ 6 w 87"/>
                <a:gd name="T13" fmla="*/ 4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91">
                  <a:moveTo>
                    <a:pt x="6" y="41"/>
                  </a:moveTo>
                  <a:cubicBezTo>
                    <a:pt x="6" y="41"/>
                    <a:pt x="10" y="10"/>
                    <a:pt x="0" y="0"/>
                  </a:cubicBezTo>
                  <a:cubicBezTo>
                    <a:pt x="0" y="0"/>
                    <a:pt x="81" y="81"/>
                    <a:pt x="85" y="184"/>
                  </a:cubicBezTo>
                  <a:cubicBezTo>
                    <a:pt x="85" y="185"/>
                    <a:pt x="85" y="186"/>
                    <a:pt x="85" y="187"/>
                  </a:cubicBezTo>
                  <a:cubicBezTo>
                    <a:pt x="87" y="291"/>
                    <a:pt x="64" y="171"/>
                    <a:pt x="64" y="171"/>
                  </a:cubicBezTo>
                  <a:cubicBezTo>
                    <a:pt x="53" y="147"/>
                    <a:pt x="53" y="147"/>
                    <a:pt x="53" y="147"/>
                  </a:cubicBezTo>
                  <a:cubicBezTo>
                    <a:pt x="53" y="147"/>
                    <a:pt x="37" y="110"/>
                    <a:pt x="6" y="41"/>
                  </a:cubicBezTo>
                  <a:close/>
                </a:path>
              </a:pathLst>
            </a:custGeom>
            <a:solidFill>
              <a:srgbClr val="FDB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ṥḻíḋê"/>
            <p:cNvSpPr/>
            <p:nvPr/>
          </p:nvSpPr>
          <p:spPr bwMode="auto">
            <a:xfrm>
              <a:off x="8212138" y="2647950"/>
              <a:ext cx="268287" cy="366713"/>
            </a:xfrm>
            <a:custGeom>
              <a:avLst/>
              <a:gdLst>
                <a:gd name="T0" fmla="*/ 0 w 77"/>
                <a:gd name="T1" fmla="*/ 52 h 106"/>
                <a:gd name="T2" fmla="*/ 0 w 77"/>
                <a:gd name="T3" fmla="*/ 52 h 106"/>
                <a:gd name="T4" fmla="*/ 25 w 77"/>
                <a:gd name="T5" fmla="*/ 106 h 106"/>
                <a:gd name="T6" fmla="*/ 77 w 77"/>
                <a:gd name="T7" fmla="*/ 0 h 106"/>
                <a:gd name="T8" fmla="*/ 22 w 77"/>
                <a:gd name="T9" fmla="*/ 8 h 106"/>
                <a:gd name="T10" fmla="*/ 0 w 77"/>
                <a:gd name="T11" fmla="*/ 5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106"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25" y="106"/>
                    <a:pt x="25" y="106"/>
                    <a:pt x="25" y="106"/>
                  </a:cubicBezTo>
                  <a:cubicBezTo>
                    <a:pt x="46" y="68"/>
                    <a:pt x="63" y="33"/>
                    <a:pt x="77" y="0"/>
                  </a:cubicBezTo>
                  <a:cubicBezTo>
                    <a:pt x="58" y="6"/>
                    <a:pt x="37" y="8"/>
                    <a:pt x="22" y="8"/>
                  </a:cubicBezTo>
                  <a:cubicBezTo>
                    <a:pt x="15" y="22"/>
                    <a:pt x="8" y="37"/>
                    <a:pt x="0" y="52"/>
                  </a:cubicBezTo>
                  <a:close/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şļiḍê"/>
            <p:cNvSpPr/>
            <p:nvPr/>
          </p:nvSpPr>
          <p:spPr bwMode="auto">
            <a:xfrm>
              <a:off x="8288338" y="1633538"/>
              <a:ext cx="347662" cy="1042988"/>
            </a:xfrm>
            <a:custGeom>
              <a:avLst/>
              <a:gdLst>
                <a:gd name="T0" fmla="*/ 98 w 100"/>
                <a:gd name="T1" fmla="*/ 136 h 301"/>
                <a:gd name="T2" fmla="*/ 78 w 100"/>
                <a:gd name="T3" fmla="*/ 39 h 301"/>
                <a:gd name="T4" fmla="*/ 60 w 100"/>
                <a:gd name="T5" fmla="*/ 13 h 301"/>
                <a:gd name="T6" fmla="*/ 7 w 100"/>
                <a:gd name="T7" fmla="*/ 28 h 301"/>
                <a:gd name="T8" fmla="*/ 51 w 100"/>
                <a:gd name="T9" fmla="*/ 133 h 301"/>
                <a:gd name="T10" fmla="*/ 0 w 100"/>
                <a:gd name="T11" fmla="*/ 301 h 301"/>
                <a:gd name="T12" fmla="*/ 55 w 100"/>
                <a:gd name="T13" fmla="*/ 293 h 301"/>
                <a:gd name="T14" fmla="*/ 67 w 100"/>
                <a:gd name="T15" fmla="*/ 264 h 301"/>
                <a:gd name="T16" fmla="*/ 98 w 100"/>
                <a:gd name="T17" fmla="*/ 13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301">
                  <a:moveTo>
                    <a:pt x="98" y="136"/>
                  </a:moveTo>
                  <a:cubicBezTo>
                    <a:pt x="100" y="98"/>
                    <a:pt x="94" y="67"/>
                    <a:pt x="78" y="39"/>
                  </a:cubicBezTo>
                  <a:cubicBezTo>
                    <a:pt x="73" y="30"/>
                    <a:pt x="67" y="22"/>
                    <a:pt x="60" y="13"/>
                  </a:cubicBezTo>
                  <a:cubicBezTo>
                    <a:pt x="31" y="0"/>
                    <a:pt x="16" y="12"/>
                    <a:pt x="7" y="28"/>
                  </a:cubicBezTo>
                  <a:cubicBezTo>
                    <a:pt x="39" y="54"/>
                    <a:pt x="53" y="88"/>
                    <a:pt x="51" y="133"/>
                  </a:cubicBezTo>
                  <a:cubicBezTo>
                    <a:pt x="48" y="177"/>
                    <a:pt x="32" y="232"/>
                    <a:pt x="0" y="301"/>
                  </a:cubicBezTo>
                  <a:cubicBezTo>
                    <a:pt x="15" y="301"/>
                    <a:pt x="36" y="299"/>
                    <a:pt x="55" y="293"/>
                  </a:cubicBezTo>
                  <a:cubicBezTo>
                    <a:pt x="60" y="283"/>
                    <a:pt x="64" y="273"/>
                    <a:pt x="67" y="264"/>
                  </a:cubicBezTo>
                  <a:cubicBezTo>
                    <a:pt x="86" y="214"/>
                    <a:pt x="96" y="172"/>
                    <a:pt x="98" y="136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şḷiḍè"/>
            <p:cNvSpPr/>
            <p:nvPr/>
          </p:nvSpPr>
          <p:spPr bwMode="auto">
            <a:xfrm>
              <a:off x="8088313" y="2828925"/>
              <a:ext cx="211137" cy="311150"/>
            </a:xfrm>
            <a:custGeom>
              <a:avLst/>
              <a:gdLst>
                <a:gd name="T0" fmla="*/ 36 w 61"/>
                <a:gd name="T1" fmla="*/ 0 h 90"/>
                <a:gd name="T2" fmla="*/ 0 w 61"/>
                <a:gd name="T3" fmla="*/ 67 h 90"/>
                <a:gd name="T4" fmla="*/ 41 w 61"/>
                <a:gd name="T5" fmla="*/ 90 h 90"/>
                <a:gd name="T6" fmla="*/ 61 w 61"/>
                <a:gd name="T7" fmla="*/ 54 h 90"/>
                <a:gd name="T8" fmla="*/ 36 w 61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90">
                  <a:moveTo>
                    <a:pt x="36" y="0"/>
                  </a:moveTo>
                  <a:cubicBezTo>
                    <a:pt x="25" y="21"/>
                    <a:pt x="13" y="43"/>
                    <a:pt x="0" y="67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8" y="78"/>
                    <a:pt x="55" y="66"/>
                    <a:pt x="61" y="54"/>
                  </a:cubicBezTo>
                  <a:cubicBezTo>
                    <a:pt x="36" y="0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$1íḓé"/>
            <p:cNvSpPr/>
            <p:nvPr/>
          </p:nvSpPr>
          <p:spPr bwMode="auto">
            <a:xfrm>
              <a:off x="7531100" y="1460500"/>
              <a:ext cx="965200" cy="298450"/>
            </a:xfrm>
            <a:custGeom>
              <a:avLst/>
              <a:gdLst>
                <a:gd name="T0" fmla="*/ 234 w 279"/>
                <a:gd name="T1" fmla="*/ 24 h 86"/>
                <a:gd name="T2" fmla="*/ 139 w 279"/>
                <a:gd name="T3" fmla="*/ 2 h 86"/>
                <a:gd name="T4" fmla="*/ 48 w 279"/>
                <a:gd name="T5" fmla="*/ 23 h 86"/>
                <a:gd name="T6" fmla="*/ 0 w 279"/>
                <a:gd name="T7" fmla="*/ 44 h 86"/>
                <a:gd name="T8" fmla="*/ 22 w 279"/>
                <a:gd name="T9" fmla="*/ 86 h 86"/>
                <a:gd name="T10" fmla="*/ 65 w 279"/>
                <a:gd name="T11" fmla="*/ 67 h 86"/>
                <a:gd name="T12" fmla="*/ 208 w 279"/>
                <a:gd name="T13" fmla="*/ 65 h 86"/>
                <a:gd name="T14" fmla="*/ 226 w 279"/>
                <a:gd name="T15" fmla="*/ 78 h 86"/>
                <a:gd name="T16" fmla="*/ 279 w 279"/>
                <a:gd name="T17" fmla="*/ 63 h 86"/>
                <a:gd name="T18" fmla="*/ 234 w 279"/>
                <a:gd name="T19" fmla="*/ 2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9" h="86">
                  <a:moveTo>
                    <a:pt x="234" y="24"/>
                  </a:moveTo>
                  <a:cubicBezTo>
                    <a:pt x="207" y="8"/>
                    <a:pt x="175" y="0"/>
                    <a:pt x="139" y="2"/>
                  </a:cubicBezTo>
                  <a:cubicBezTo>
                    <a:pt x="111" y="3"/>
                    <a:pt x="80" y="10"/>
                    <a:pt x="48" y="23"/>
                  </a:cubicBezTo>
                  <a:cubicBezTo>
                    <a:pt x="30" y="29"/>
                    <a:pt x="14" y="37"/>
                    <a:pt x="0" y="44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35" y="79"/>
                    <a:pt x="49" y="73"/>
                    <a:pt x="65" y="67"/>
                  </a:cubicBezTo>
                  <a:cubicBezTo>
                    <a:pt x="107" y="51"/>
                    <a:pt x="166" y="38"/>
                    <a:pt x="208" y="65"/>
                  </a:cubicBezTo>
                  <a:cubicBezTo>
                    <a:pt x="215" y="69"/>
                    <a:pt x="221" y="73"/>
                    <a:pt x="226" y="78"/>
                  </a:cubicBezTo>
                  <a:cubicBezTo>
                    <a:pt x="235" y="62"/>
                    <a:pt x="250" y="50"/>
                    <a:pt x="279" y="63"/>
                  </a:cubicBezTo>
                  <a:cubicBezTo>
                    <a:pt x="267" y="49"/>
                    <a:pt x="252" y="36"/>
                    <a:pt x="234" y="24"/>
                  </a:cubicBezTo>
                  <a:close/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ṡļíḋé"/>
            <p:cNvSpPr/>
            <p:nvPr/>
          </p:nvSpPr>
          <p:spPr bwMode="auto">
            <a:xfrm>
              <a:off x="7361238" y="1612900"/>
              <a:ext cx="246062" cy="231775"/>
            </a:xfrm>
            <a:custGeom>
              <a:avLst/>
              <a:gdLst>
                <a:gd name="T0" fmla="*/ 0 w 71"/>
                <a:gd name="T1" fmla="*/ 28 h 67"/>
                <a:gd name="T2" fmla="*/ 27 w 71"/>
                <a:gd name="T3" fmla="*/ 67 h 67"/>
                <a:gd name="T4" fmla="*/ 71 w 71"/>
                <a:gd name="T5" fmla="*/ 42 h 67"/>
                <a:gd name="T6" fmla="*/ 49 w 71"/>
                <a:gd name="T7" fmla="*/ 0 h 67"/>
                <a:gd name="T8" fmla="*/ 0 w 71"/>
                <a:gd name="T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7">
                  <a:moveTo>
                    <a:pt x="0" y="28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45" y="55"/>
                    <a:pt x="71" y="42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0" y="14"/>
                    <a:pt x="1" y="27"/>
                    <a:pt x="0" y="28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Sľide"/>
            <p:cNvSpPr/>
            <p:nvPr/>
          </p:nvSpPr>
          <p:spPr bwMode="auto">
            <a:xfrm>
              <a:off x="5403850" y="2565400"/>
              <a:ext cx="1447800" cy="1055688"/>
            </a:xfrm>
            <a:custGeom>
              <a:avLst/>
              <a:gdLst>
                <a:gd name="T0" fmla="*/ 111 w 418"/>
                <a:gd name="T1" fmla="*/ 22 h 305"/>
                <a:gd name="T2" fmla="*/ 94 w 418"/>
                <a:gd name="T3" fmla="*/ 17 h 305"/>
                <a:gd name="T4" fmla="*/ 0 w 418"/>
                <a:gd name="T5" fmla="*/ 42 h 305"/>
                <a:gd name="T6" fmla="*/ 57 w 418"/>
                <a:gd name="T7" fmla="*/ 58 h 305"/>
                <a:gd name="T8" fmla="*/ 418 w 418"/>
                <a:gd name="T9" fmla="*/ 305 h 305"/>
                <a:gd name="T10" fmla="*/ 111 w 418"/>
                <a:gd name="T11" fmla="*/ 22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8" h="305">
                  <a:moveTo>
                    <a:pt x="111" y="22"/>
                  </a:moveTo>
                  <a:cubicBezTo>
                    <a:pt x="104" y="20"/>
                    <a:pt x="99" y="18"/>
                    <a:pt x="94" y="17"/>
                  </a:cubicBezTo>
                  <a:cubicBezTo>
                    <a:pt x="24" y="0"/>
                    <a:pt x="0" y="42"/>
                    <a:pt x="0" y="42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138" y="49"/>
                    <a:pt x="343" y="234"/>
                    <a:pt x="418" y="305"/>
                  </a:cubicBezTo>
                  <a:cubicBezTo>
                    <a:pt x="317" y="203"/>
                    <a:pt x="170" y="75"/>
                    <a:pt x="111" y="22"/>
                  </a:cubicBezTo>
                  <a:close/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ṧ1ïḓê"/>
            <p:cNvSpPr/>
            <p:nvPr/>
          </p:nvSpPr>
          <p:spPr bwMode="auto">
            <a:xfrm>
              <a:off x="5788025" y="2641600"/>
              <a:ext cx="1160462" cy="1073150"/>
            </a:xfrm>
            <a:custGeom>
              <a:avLst/>
              <a:gdLst>
                <a:gd name="T0" fmla="*/ 335 w 335"/>
                <a:gd name="T1" fmla="*/ 310 h 310"/>
                <a:gd name="T2" fmla="*/ 311 w 335"/>
                <a:gd name="T3" fmla="*/ 162 h 310"/>
                <a:gd name="T4" fmla="*/ 0 w 335"/>
                <a:gd name="T5" fmla="*/ 0 h 310"/>
                <a:gd name="T6" fmla="*/ 307 w 335"/>
                <a:gd name="T7" fmla="*/ 283 h 310"/>
                <a:gd name="T8" fmla="*/ 335 w 335"/>
                <a:gd name="T9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310">
                  <a:moveTo>
                    <a:pt x="335" y="310"/>
                  </a:moveTo>
                  <a:cubicBezTo>
                    <a:pt x="311" y="162"/>
                    <a:pt x="311" y="162"/>
                    <a:pt x="311" y="162"/>
                  </a:cubicBezTo>
                  <a:cubicBezTo>
                    <a:pt x="311" y="162"/>
                    <a:pt x="87" y="31"/>
                    <a:pt x="0" y="0"/>
                  </a:cubicBezTo>
                  <a:cubicBezTo>
                    <a:pt x="59" y="53"/>
                    <a:pt x="206" y="181"/>
                    <a:pt x="307" y="283"/>
                  </a:cubicBezTo>
                  <a:cubicBezTo>
                    <a:pt x="325" y="299"/>
                    <a:pt x="335" y="310"/>
                    <a:pt x="335" y="310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ṡḻïḍè"/>
            <p:cNvSpPr/>
            <p:nvPr/>
          </p:nvSpPr>
          <p:spPr bwMode="auto">
            <a:xfrm>
              <a:off x="6227763" y="1390650"/>
              <a:ext cx="2124075" cy="2441575"/>
            </a:xfrm>
            <a:custGeom>
              <a:avLst/>
              <a:gdLst>
                <a:gd name="T0" fmla="*/ 605 w 613"/>
                <a:gd name="T1" fmla="*/ 531 h 705"/>
                <a:gd name="T2" fmla="*/ 319 w 613"/>
                <a:gd name="T3" fmla="*/ 41 h 705"/>
                <a:gd name="T4" fmla="*/ 308 w 613"/>
                <a:gd name="T5" fmla="*/ 31 h 705"/>
                <a:gd name="T6" fmla="*/ 205 w 613"/>
                <a:gd name="T7" fmla="*/ 20 h 705"/>
                <a:gd name="T8" fmla="*/ 121 w 613"/>
                <a:gd name="T9" fmla="*/ 68 h 705"/>
                <a:gd name="T10" fmla="*/ 121 w 613"/>
                <a:gd name="T11" fmla="*/ 68 h 705"/>
                <a:gd name="T12" fmla="*/ 120 w 613"/>
                <a:gd name="T13" fmla="*/ 69 h 705"/>
                <a:gd name="T14" fmla="*/ 18 w 613"/>
                <a:gd name="T15" fmla="*/ 230 h 705"/>
                <a:gd name="T16" fmla="*/ 276 w 613"/>
                <a:gd name="T17" fmla="*/ 669 h 705"/>
                <a:gd name="T18" fmla="*/ 388 w 613"/>
                <a:gd name="T19" fmla="*/ 689 h 705"/>
                <a:gd name="T20" fmla="*/ 596 w 613"/>
                <a:gd name="T21" fmla="*/ 568 h 705"/>
                <a:gd name="T22" fmla="*/ 605 w 613"/>
                <a:gd name="T23" fmla="*/ 53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3" h="705">
                  <a:moveTo>
                    <a:pt x="605" y="531"/>
                  </a:moveTo>
                  <a:cubicBezTo>
                    <a:pt x="319" y="41"/>
                    <a:pt x="319" y="41"/>
                    <a:pt x="319" y="41"/>
                  </a:cubicBezTo>
                  <a:cubicBezTo>
                    <a:pt x="316" y="37"/>
                    <a:pt x="313" y="34"/>
                    <a:pt x="308" y="31"/>
                  </a:cubicBezTo>
                  <a:cubicBezTo>
                    <a:pt x="281" y="6"/>
                    <a:pt x="239" y="0"/>
                    <a:pt x="205" y="20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09" y="75"/>
                    <a:pt x="0" y="141"/>
                    <a:pt x="18" y="230"/>
                  </a:cubicBezTo>
                  <a:cubicBezTo>
                    <a:pt x="38" y="324"/>
                    <a:pt x="252" y="648"/>
                    <a:pt x="276" y="669"/>
                  </a:cubicBezTo>
                  <a:cubicBezTo>
                    <a:pt x="317" y="705"/>
                    <a:pt x="359" y="701"/>
                    <a:pt x="388" y="689"/>
                  </a:cubicBezTo>
                  <a:cubicBezTo>
                    <a:pt x="596" y="568"/>
                    <a:pt x="596" y="568"/>
                    <a:pt x="596" y="568"/>
                  </a:cubicBezTo>
                  <a:cubicBezTo>
                    <a:pt x="608" y="561"/>
                    <a:pt x="613" y="544"/>
                    <a:pt x="605" y="531"/>
                  </a:cubicBezTo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ṡḷïḓê"/>
            <p:cNvSpPr/>
            <p:nvPr/>
          </p:nvSpPr>
          <p:spPr bwMode="auto">
            <a:xfrm>
              <a:off x="6646863" y="1627188"/>
              <a:ext cx="1587" cy="1588"/>
            </a:xfrm>
            <a:prstGeom prst="rect">
              <a:avLst/>
            </a:pr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ṣḷiḋê"/>
            <p:cNvSpPr/>
            <p:nvPr/>
          </p:nvSpPr>
          <p:spPr bwMode="auto">
            <a:xfrm>
              <a:off x="6051550" y="1630363"/>
              <a:ext cx="1520825" cy="2382838"/>
            </a:xfrm>
            <a:custGeom>
              <a:avLst/>
              <a:gdLst>
                <a:gd name="T0" fmla="*/ 327 w 439"/>
                <a:gd name="T1" fmla="*/ 600 h 688"/>
                <a:gd name="T2" fmla="*/ 69 w 439"/>
                <a:gd name="T3" fmla="*/ 161 h 688"/>
                <a:gd name="T4" fmla="*/ 171 w 439"/>
                <a:gd name="T5" fmla="*/ 0 h 688"/>
                <a:gd name="T6" fmla="*/ 51 w 439"/>
                <a:gd name="T7" fmla="*/ 69 h 688"/>
                <a:gd name="T8" fmla="*/ 9 w 439"/>
                <a:gd name="T9" fmla="*/ 166 h 688"/>
                <a:gd name="T10" fmla="*/ 13 w 439"/>
                <a:gd name="T11" fmla="*/ 181 h 688"/>
                <a:gd name="T12" fmla="*/ 299 w 439"/>
                <a:gd name="T13" fmla="*/ 671 h 688"/>
                <a:gd name="T14" fmla="*/ 336 w 439"/>
                <a:gd name="T15" fmla="*/ 681 h 688"/>
                <a:gd name="T16" fmla="*/ 439 w 439"/>
                <a:gd name="T17" fmla="*/ 620 h 688"/>
                <a:gd name="T18" fmla="*/ 327 w 439"/>
                <a:gd name="T19" fmla="*/ 600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9" h="688">
                  <a:moveTo>
                    <a:pt x="327" y="600"/>
                  </a:moveTo>
                  <a:cubicBezTo>
                    <a:pt x="303" y="579"/>
                    <a:pt x="89" y="255"/>
                    <a:pt x="69" y="161"/>
                  </a:cubicBezTo>
                  <a:cubicBezTo>
                    <a:pt x="51" y="72"/>
                    <a:pt x="160" y="6"/>
                    <a:pt x="171" y="0"/>
                  </a:cubicBezTo>
                  <a:cubicBezTo>
                    <a:pt x="51" y="69"/>
                    <a:pt x="51" y="69"/>
                    <a:pt x="51" y="69"/>
                  </a:cubicBezTo>
                  <a:cubicBezTo>
                    <a:pt x="16" y="89"/>
                    <a:pt x="0" y="129"/>
                    <a:pt x="9" y="166"/>
                  </a:cubicBezTo>
                  <a:cubicBezTo>
                    <a:pt x="9" y="171"/>
                    <a:pt x="10" y="176"/>
                    <a:pt x="13" y="181"/>
                  </a:cubicBezTo>
                  <a:cubicBezTo>
                    <a:pt x="299" y="671"/>
                    <a:pt x="299" y="671"/>
                    <a:pt x="299" y="671"/>
                  </a:cubicBezTo>
                  <a:cubicBezTo>
                    <a:pt x="307" y="684"/>
                    <a:pt x="323" y="688"/>
                    <a:pt x="336" y="681"/>
                  </a:cubicBezTo>
                  <a:cubicBezTo>
                    <a:pt x="439" y="620"/>
                    <a:pt x="439" y="620"/>
                    <a:pt x="439" y="620"/>
                  </a:cubicBezTo>
                  <a:cubicBezTo>
                    <a:pt x="410" y="632"/>
                    <a:pt x="368" y="636"/>
                    <a:pt x="327" y="600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šļidè"/>
            <p:cNvSpPr/>
            <p:nvPr/>
          </p:nvSpPr>
          <p:spPr bwMode="auto">
            <a:xfrm>
              <a:off x="6543675" y="1574800"/>
              <a:ext cx="736600" cy="293688"/>
            </a:xfrm>
            <a:custGeom>
              <a:avLst/>
              <a:gdLst>
                <a:gd name="T0" fmla="*/ 143 w 213"/>
                <a:gd name="T1" fmla="*/ 0 h 85"/>
                <a:gd name="T2" fmla="*/ 102 w 213"/>
                <a:gd name="T3" fmla="*/ 10 h 85"/>
                <a:gd name="T4" fmla="*/ 33 w 213"/>
                <a:gd name="T5" fmla="*/ 48 h 85"/>
                <a:gd name="T6" fmla="*/ 8 w 213"/>
                <a:gd name="T7" fmla="*/ 63 h 85"/>
                <a:gd name="T8" fmla="*/ 3 w 213"/>
                <a:gd name="T9" fmla="*/ 79 h 85"/>
                <a:gd name="T10" fmla="*/ 10 w 213"/>
                <a:gd name="T11" fmla="*/ 85 h 85"/>
                <a:gd name="T12" fmla="*/ 14 w 213"/>
                <a:gd name="T13" fmla="*/ 85 h 85"/>
                <a:gd name="T14" fmla="*/ 20 w 213"/>
                <a:gd name="T15" fmla="*/ 83 h 85"/>
                <a:gd name="T16" fmla="*/ 45 w 213"/>
                <a:gd name="T17" fmla="*/ 68 h 85"/>
                <a:gd name="T18" fmla="*/ 113 w 213"/>
                <a:gd name="T19" fmla="*/ 31 h 85"/>
                <a:gd name="T20" fmla="*/ 113 w 213"/>
                <a:gd name="T21" fmla="*/ 31 h 85"/>
                <a:gd name="T22" fmla="*/ 143 w 213"/>
                <a:gd name="T23" fmla="*/ 24 h 85"/>
                <a:gd name="T24" fmla="*/ 192 w 213"/>
                <a:gd name="T25" fmla="*/ 42 h 85"/>
                <a:gd name="T26" fmla="*/ 200 w 213"/>
                <a:gd name="T27" fmla="*/ 46 h 85"/>
                <a:gd name="T28" fmla="*/ 209 w 213"/>
                <a:gd name="T29" fmla="*/ 42 h 85"/>
                <a:gd name="T30" fmla="*/ 208 w 213"/>
                <a:gd name="T31" fmla="*/ 25 h 85"/>
                <a:gd name="T32" fmla="*/ 143 w 213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3" h="85">
                  <a:moveTo>
                    <a:pt x="143" y="0"/>
                  </a:moveTo>
                  <a:cubicBezTo>
                    <a:pt x="129" y="0"/>
                    <a:pt x="115" y="3"/>
                    <a:pt x="102" y="10"/>
                  </a:cubicBezTo>
                  <a:cubicBezTo>
                    <a:pt x="78" y="21"/>
                    <a:pt x="55" y="35"/>
                    <a:pt x="33" y="48"/>
                  </a:cubicBezTo>
                  <a:cubicBezTo>
                    <a:pt x="25" y="53"/>
                    <a:pt x="16" y="58"/>
                    <a:pt x="8" y="63"/>
                  </a:cubicBezTo>
                  <a:cubicBezTo>
                    <a:pt x="2" y="66"/>
                    <a:pt x="0" y="73"/>
                    <a:pt x="3" y="79"/>
                  </a:cubicBezTo>
                  <a:cubicBezTo>
                    <a:pt x="5" y="82"/>
                    <a:pt x="8" y="84"/>
                    <a:pt x="10" y="85"/>
                  </a:cubicBezTo>
                  <a:cubicBezTo>
                    <a:pt x="11" y="85"/>
                    <a:pt x="13" y="85"/>
                    <a:pt x="14" y="85"/>
                  </a:cubicBezTo>
                  <a:cubicBezTo>
                    <a:pt x="16" y="85"/>
                    <a:pt x="18" y="84"/>
                    <a:pt x="20" y="83"/>
                  </a:cubicBezTo>
                  <a:cubicBezTo>
                    <a:pt x="28" y="78"/>
                    <a:pt x="37" y="73"/>
                    <a:pt x="45" y="68"/>
                  </a:cubicBezTo>
                  <a:cubicBezTo>
                    <a:pt x="68" y="55"/>
                    <a:pt x="89" y="42"/>
                    <a:pt x="113" y="31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22" y="26"/>
                    <a:pt x="133" y="24"/>
                    <a:pt x="143" y="24"/>
                  </a:cubicBezTo>
                  <a:cubicBezTo>
                    <a:pt x="161" y="24"/>
                    <a:pt x="178" y="30"/>
                    <a:pt x="192" y="42"/>
                  </a:cubicBezTo>
                  <a:cubicBezTo>
                    <a:pt x="194" y="44"/>
                    <a:pt x="197" y="46"/>
                    <a:pt x="200" y="46"/>
                  </a:cubicBezTo>
                  <a:cubicBezTo>
                    <a:pt x="203" y="46"/>
                    <a:pt x="206" y="44"/>
                    <a:pt x="209" y="42"/>
                  </a:cubicBezTo>
                  <a:cubicBezTo>
                    <a:pt x="213" y="37"/>
                    <a:pt x="213" y="29"/>
                    <a:pt x="208" y="25"/>
                  </a:cubicBezTo>
                  <a:cubicBezTo>
                    <a:pt x="190" y="9"/>
                    <a:pt x="166" y="0"/>
                    <a:pt x="143" y="0"/>
                  </a:cubicBezTo>
                </a:path>
              </a:pathLst>
            </a:custGeom>
            <a:solidFill>
              <a:srgbClr val="91DA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şḻîḑé"/>
            <p:cNvSpPr/>
            <p:nvPr/>
          </p:nvSpPr>
          <p:spPr bwMode="auto">
            <a:xfrm>
              <a:off x="5070475" y="2773363"/>
              <a:ext cx="315912" cy="196850"/>
            </a:xfrm>
            <a:custGeom>
              <a:avLst/>
              <a:gdLst>
                <a:gd name="T0" fmla="*/ 8 w 91"/>
                <a:gd name="T1" fmla="*/ 57 h 57"/>
                <a:gd name="T2" fmla="*/ 2 w 91"/>
                <a:gd name="T3" fmla="*/ 53 h 57"/>
                <a:gd name="T4" fmla="*/ 4 w 91"/>
                <a:gd name="T5" fmla="*/ 43 h 57"/>
                <a:gd name="T6" fmla="*/ 79 w 91"/>
                <a:gd name="T7" fmla="*/ 2 h 57"/>
                <a:gd name="T8" fmla="*/ 89 w 91"/>
                <a:gd name="T9" fmla="*/ 4 h 57"/>
                <a:gd name="T10" fmla="*/ 86 w 91"/>
                <a:gd name="T11" fmla="*/ 14 h 57"/>
                <a:gd name="T12" fmla="*/ 11 w 91"/>
                <a:gd name="T13" fmla="*/ 56 h 57"/>
                <a:gd name="T14" fmla="*/ 8 w 91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57">
                  <a:moveTo>
                    <a:pt x="8" y="57"/>
                  </a:moveTo>
                  <a:cubicBezTo>
                    <a:pt x="5" y="57"/>
                    <a:pt x="3" y="55"/>
                    <a:pt x="2" y="53"/>
                  </a:cubicBezTo>
                  <a:cubicBezTo>
                    <a:pt x="0" y="49"/>
                    <a:pt x="1" y="45"/>
                    <a:pt x="4" y="43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83" y="0"/>
                    <a:pt x="87" y="1"/>
                    <a:pt x="89" y="4"/>
                  </a:cubicBezTo>
                  <a:cubicBezTo>
                    <a:pt x="91" y="8"/>
                    <a:pt x="90" y="12"/>
                    <a:pt x="86" y="1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7"/>
                    <a:pt x="8" y="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ṧľíḑè"/>
            <p:cNvSpPr/>
            <p:nvPr/>
          </p:nvSpPr>
          <p:spPr bwMode="auto">
            <a:xfrm>
              <a:off x="5264150" y="2849563"/>
              <a:ext cx="228600" cy="431800"/>
            </a:xfrm>
            <a:custGeom>
              <a:avLst/>
              <a:gdLst>
                <a:gd name="T0" fmla="*/ 7 w 66"/>
                <a:gd name="T1" fmla="*/ 125 h 125"/>
                <a:gd name="T2" fmla="*/ 5 w 66"/>
                <a:gd name="T3" fmla="*/ 124 h 125"/>
                <a:gd name="T4" fmla="*/ 1 w 66"/>
                <a:gd name="T5" fmla="*/ 114 h 125"/>
                <a:gd name="T6" fmla="*/ 51 w 66"/>
                <a:gd name="T7" fmla="*/ 5 h 125"/>
                <a:gd name="T8" fmla="*/ 61 w 66"/>
                <a:gd name="T9" fmla="*/ 2 h 125"/>
                <a:gd name="T10" fmla="*/ 65 w 66"/>
                <a:gd name="T11" fmla="*/ 12 h 125"/>
                <a:gd name="T12" fmla="*/ 15 w 66"/>
                <a:gd name="T13" fmla="*/ 121 h 125"/>
                <a:gd name="T14" fmla="*/ 7 w 66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125">
                  <a:moveTo>
                    <a:pt x="7" y="125"/>
                  </a:moveTo>
                  <a:cubicBezTo>
                    <a:pt x="6" y="125"/>
                    <a:pt x="6" y="125"/>
                    <a:pt x="5" y="124"/>
                  </a:cubicBezTo>
                  <a:cubicBezTo>
                    <a:pt x="1" y="123"/>
                    <a:pt x="0" y="118"/>
                    <a:pt x="1" y="11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3" y="1"/>
                    <a:pt x="58" y="0"/>
                    <a:pt x="61" y="2"/>
                  </a:cubicBezTo>
                  <a:cubicBezTo>
                    <a:pt x="65" y="3"/>
                    <a:pt x="66" y="8"/>
                    <a:pt x="65" y="12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3" y="124"/>
                    <a:pt x="10" y="125"/>
                    <a:pt x="7" y="1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s1idê"/>
            <p:cNvSpPr/>
            <p:nvPr/>
          </p:nvSpPr>
          <p:spPr bwMode="auto">
            <a:xfrm>
              <a:off x="5556250" y="2890838"/>
              <a:ext cx="114300" cy="284163"/>
            </a:xfrm>
            <a:custGeom>
              <a:avLst/>
              <a:gdLst>
                <a:gd name="T0" fmla="*/ 26 w 33"/>
                <a:gd name="T1" fmla="*/ 82 h 82"/>
                <a:gd name="T2" fmla="*/ 20 w 33"/>
                <a:gd name="T3" fmla="*/ 78 h 82"/>
                <a:gd name="T4" fmla="*/ 1 w 33"/>
                <a:gd name="T5" fmla="*/ 8 h 82"/>
                <a:gd name="T6" fmla="*/ 6 w 33"/>
                <a:gd name="T7" fmla="*/ 1 h 82"/>
                <a:gd name="T8" fmla="*/ 13 w 33"/>
                <a:gd name="T9" fmla="*/ 5 h 82"/>
                <a:gd name="T10" fmla="*/ 32 w 33"/>
                <a:gd name="T11" fmla="*/ 74 h 82"/>
                <a:gd name="T12" fmla="*/ 28 w 33"/>
                <a:gd name="T13" fmla="*/ 82 h 82"/>
                <a:gd name="T14" fmla="*/ 26 w 3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82">
                  <a:moveTo>
                    <a:pt x="26" y="82"/>
                  </a:moveTo>
                  <a:cubicBezTo>
                    <a:pt x="24" y="82"/>
                    <a:pt x="21" y="81"/>
                    <a:pt x="20" y="7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6" y="1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3" y="78"/>
                    <a:pt x="31" y="81"/>
                    <a:pt x="28" y="82"/>
                  </a:cubicBezTo>
                  <a:cubicBezTo>
                    <a:pt x="27" y="82"/>
                    <a:pt x="27" y="82"/>
                    <a:pt x="26" y="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şľídè"/>
            <p:cNvSpPr/>
            <p:nvPr/>
          </p:nvSpPr>
          <p:spPr bwMode="auto">
            <a:xfrm>
              <a:off x="3338513" y="5481638"/>
              <a:ext cx="1184275" cy="155575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śļiḑê"/>
            <p:cNvSpPr/>
            <p:nvPr/>
          </p:nvSpPr>
          <p:spPr bwMode="auto">
            <a:xfrm>
              <a:off x="4606925" y="5481638"/>
              <a:ext cx="1184275" cy="155575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ṣlîḑè"/>
            <p:cNvSpPr/>
            <p:nvPr/>
          </p:nvSpPr>
          <p:spPr bwMode="auto">
            <a:xfrm>
              <a:off x="5832475" y="5481638"/>
              <a:ext cx="1185862" cy="155575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šḷiḑê"/>
            <p:cNvSpPr/>
            <p:nvPr/>
          </p:nvSpPr>
          <p:spPr bwMode="auto">
            <a:xfrm>
              <a:off x="7089775" y="5481638"/>
              <a:ext cx="1185862" cy="155575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îŝ1iḍe"/>
            <p:cNvSpPr/>
            <p:nvPr/>
          </p:nvSpPr>
          <p:spPr bwMode="auto">
            <a:xfrm>
              <a:off x="3508375" y="4673600"/>
              <a:ext cx="865187" cy="163513"/>
            </a:xfrm>
            <a:custGeom>
              <a:avLst/>
              <a:gdLst>
                <a:gd name="T0" fmla="*/ 0 w 250"/>
                <a:gd name="T1" fmla="*/ 11 h 47"/>
                <a:gd name="T2" fmla="*/ 0 w 250"/>
                <a:gd name="T3" fmla="*/ 47 h 47"/>
                <a:gd name="T4" fmla="*/ 250 w 250"/>
                <a:gd name="T5" fmla="*/ 47 h 47"/>
                <a:gd name="T6" fmla="*/ 250 w 250"/>
                <a:gd name="T7" fmla="*/ 11 h 47"/>
                <a:gd name="T8" fmla="*/ 239 w 250"/>
                <a:gd name="T9" fmla="*/ 0 h 47"/>
                <a:gd name="T10" fmla="*/ 12 w 250"/>
                <a:gd name="T11" fmla="*/ 0 h 47"/>
                <a:gd name="T12" fmla="*/ 0 w 250"/>
                <a:gd name="T13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7">
                  <a:moveTo>
                    <a:pt x="0" y="11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50" y="47"/>
                    <a:pt x="250" y="47"/>
                    <a:pt x="250" y="47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50" y="5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śḻîde"/>
            <p:cNvSpPr/>
            <p:nvPr/>
          </p:nvSpPr>
          <p:spPr bwMode="auto">
            <a:xfrm>
              <a:off x="3508375" y="4837113"/>
              <a:ext cx="865187" cy="58738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Sḻíďè"/>
            <p:cNvSpPr/>
            <p:nvPr/>
          </p:nvSpPr>
          <p:spPr bwMode="auto">
            <a:xfrm>
              <a:off x="3508375" y="4837113"/>
              <a:ext cx="865187" cy="58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slîḋê"/>
            <p:cNvSpPr/>
            <p:nvPr/>
          </p:nvSpPr>
          <p:spPr bwMode="auto">
            <a:xfrm>
              <a:off x="3508375" y="4895850"/>
              <a:ext cx="865187" cy="163513"/>
            </a:xfrm>
            <a:custGeom>
              <a:avLst/>
              <a:gdLst>
                <a:gd name="T0" fmla="*/ 0 w 250"/>
                <a:gd name="T1" fmla="*/ 11 h 47"/>
                <a:gd name="T2" fmla="*/ 0 w 250"/>
                <a:gd name="T3" fmla="*/ 47 h 47"/>
                <a:gd name="T4" fmla="*/ 250 w 250"/>
                <a:gd name="T5" fmla="*/ 47 h 47"/>
                <a:gd name="T6" fmla="*/ 250 w 250"/>
                <a:gd name="T7" fmla="*/ 10 h 47"/>
                <a:gd name="T8" fmla="*/ 239 w 250"/>
                <a:gd name="T9" fmla="*/ 0 h 47"/>
                <a:gd name="T10" fmla="*/ 12 w 250"/>
                <a:gd name="T11" fmla="*/ 0 h 47"/>
                <a:gd name="T12" fmla="*/ 0 w 250"/>
                <a:gd name="T13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7">
                  <a:moveTo>
                    <a:pt x="0" y="11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50" y="47"/>
                    <a:pt x="250" y="47"/>
                    <a:pt x="250" y="47"/>
                  </a:cubicBezTo>
                  <a:cubicBezTo>
                    <a:pt x="250" y="10"/>
                    <a:pt x="250" y="10"/>
                    <a:pt x="250" y="10"/>
                  </a:cubicBezTo>
                  <a:cubicBezTo>
                    <a:pt x="250" y="4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$ļîḑe"/>
            <p:cNvSpPr/>
            <p:nvPr/>
          </p:nvSpPr>
          <p:spPr bwMode="auto">
            <a:xfrm>
              <a:off x="3508375" y="5059363"/>
              <a:ext cx="865187" cy="58738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šľíḓè"/>
            <p:cNvSpPr/>
            <p:nvPr/>
          </p:nvSpPr>
          <p:spPr bwMode="auto">
            <a:xfrm>
              <a:off x="3508375" y="5059363"/>
              <a:ext cx="865187" cy="58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śḷíḍè"/>
            <p:cNvSpPr/>
            <p:nvPr/>
          </p:nvSpPr>
          <p:spPr bwMode="auto">
            <a:xfrm>
              <a:off x="3508375" y="5118100"/>
              <a:ext cx="865187" cy="161925"/>
            </a:xfrm>
            <a:custGeom>
              <a:avLst/>
              <a:gdLst>
                <a:gd name="T0" fmla="*/ 0 w 250"/>
                <a:gd name="T1" fmla="*/ 11 h 47"/>
                <a:gd name="T2" fmla="*/ 0 w 250"/>
                <a:gd name="T3" fmla="*/ 47 h 47"/>
                <a:gd name="T4" fmla="*/ 250 w 250"/>
                <a:gd name="T5" fmla="*/ 47 h 47"/>
                <a:gd name="T6" fmla="*/ 250 w 250"/>
                <a:gd name="T7" fmla="*/ 10 h 47"/>
                <a:gd name="T8" fmla="*/ 239 w 250"/>
                <a:gd name="T9" fmla="*/ 0 h 47"/>
                <a:gd name="T10" fmla="*/ 12 w 250"/>
                <a:gd name="T11" fmla="*/ 0 h 47"/>
                <a:gd name="T12" fmla="*/ 0 w 250"/>
                <a:gd name="T13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7">
                  <a:moveTo>
                    <a:pt x="0" y="11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50" y="47"/>
                    <a:pt x="250" y="47"/>
                    <a:pt x="250" y="47"/>
                  </a:cubicBezTo>
                  <a:cubicBezTo>
                    <a:pt x="250" y="10"/>
                    <a:pt x="250" y="10"/>
                    <a:pt x="250" y="10"/>
                  </a:cubicBezTo>
                  <a:cubicBezTo>
                    <a:pt x="250" y="4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ṩļiḑè"/>
            <p:cNvSpPr/>
            <p:nvPr/>
          </p:nvSpPr>
          <p:spPr bwMode="auto">
            <a:xfrm>
              <a:off x="3508375" y="5280025"/>
              <a:ext cx="865187" cy="55563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sḻîďé"/>
            <p:cNvSpPr/>
            <p:nvPr/>
          </p:nvSpPr>
          <p:spPr bwMode="auto">
            <a:xfrm>
              <a:off x="3508375" y="5280025"/>
              <a:ext cx="865187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îSľiďè"/>
            <p:cNvSpPr/>
            <p:nvPr/>
          </p:nvSpPr>
          <p:spPr bwMode="auto">
            <a:xfrm>
              <a:off x="3508375" y="5335588"/>
              <a:ext cx="865187" cy="166688"/>
            </a:xfrm>
            <a:custGeom>
              <a:avLst/>
              <a:gdLst>
                <a:gd name="T0" fmla="*/ 0 w 250"/>
                <a:gd name="T1" fmla="*/ 12 h 48"/>
                <a:gd name="T2" fmla="*/ 0 w 250"/>
                <a:gd name="T3" fmla="*/ 48 h 48"/>
                <a:gd name="T4" fmla="*/ 250 w 250"/>
                <a:gd name="T5" fmla="*/ 48 h 48"/>
                <a:gd name="T6" fmla="*/ 250 w 250"/>
                <a:gd name="T7" fmla="*/ 11 h 48"/>
                <a:gd name="T8" fmla="*/ 239 w 250"/>
                <a:gd name="T9" fmla="*/ 0 h 48"/>
                <a:gd name="T10" fmla="*/ 12 w 250"/>
                <a:gd name="T11" fmla="*/ 0 h 48"/>
                <a:gd name="T12" fmla="*/ 0 w 250"/>
                <a:gd name="T1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8">
                  <a:moveTo>
                    <a:pt x="0" y="12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50" y="48"/>
                    <a:pt x="250" y="48"/>
                    <a:pt x="250" y="48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50" y="5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6"/>
                    <a:pt x="0" y="12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$ḷîḑè"/>
            <p:cNvSpPr/>
            <p:nvPr/>
          </p:nvSpPr>
          <p:spPr bwMode="auto">
            <a:xfrm>
              <a:off x="3508375" y="5502275"/>
              <a:ext cx="865187" cy="55563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ṥlîdé"/>
            <p:cNvSpPr/>
            <p:nvPr/>
          </p:nvSpPr>
          <p:spPr bwMode="auto">
            <a:xfrm>
              <a:off x="3508375" y="5502275"/>
              <a:ext cx="865187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ṣḷïḍê"/>
            <p:cNvSpPr/>
            <p:nvPr/>
          </p:nvSpPr>
          <p:spPr bwMode="auto">
            <a:xfrm>
              <a:off x="3508375" y="4010025"/>
              <a:ext cx="865187" cy="165100"/>
            </a:xfrm>
            <a:custGeom>
              <a:avLst/>
              <a:gdLst>
                <a:gd name="T0" fmla="*/ 0 w 250"/>
                <a:gd name="T1" fmla="*/ 12 h 48"/>
                <a:gd name="T2" fmla="*/ 0 w 250"/>
                <a:gd name="T3" fmla="*/ 48 h 48"/>
                <a:gd name="T4" fmla="*/ 250 w 250"/>
                <a:gd name="T5" fmla="*/ 48 h 48"/>
                <a:gd name="T6" fmla="*/ 250 w 250"/>
                <a:gd name="T7" fmla="*/ 11 h 48"/>
                <a:gd name="T8" fmla="*/ 239 w 250"/>
                <a:gd name="T9" fmla="*/ 0 h 48"/>
                <a:gd name="T10" fmla="*/ 12 w 250"/>
                <a:gd name="T11" fmla="*/ 0 h 48"/>
                <a:gd name="T12" fmla="*/ 0 w 250"/>
                <a:gd name="T1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8">
                  <a:moveTo>
                    <a:pt x="0" y="12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50" y="48"/>
                    <a:pt x="250" y="48"/>
                    <a:pt x="250" y="48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50" y="5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sļidè"/>
            <p:cNvSpPr/>
            <p:nvPr/>
          </p:nvSpPr>
          <p:spPr bwMode="auto">
            <a:xfrm>
              <a:off x="3508375" y="4175125"/>
              <a:ext cx="865187" cy="55563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ṣḻïḓê"/>
            <p:cNvSpPr/>
            <p:nvPr/>
          </p:nvSpPr>
          <p:spPr bwMode="auto">
            <a:xfrm>
              <a:off x="3508375" y="4175125"/>
              <a:ext cx="865187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śľîďe"/>
            <p:cNvSpPr/>
            <p:nvPr/>
          </p:nvSpPr>
          <p:spPr bwMode="auto">
            <a:xfrm>
              <a:off x="3508375" y="4230688"/>
              <a:ext cx="865187" cy="163513"/>
            </a:xfrm>
            <a:custGeom>
              <a:avLst/>
              <a:gdLst>
                <a:gd name="T0" fmla="*/ 0 w 250"/>
                <a:gd name="T1" fmla="*/ 12 h 47"/>
                <a:gd name="T2" fmla="*/ 0 w 250"/>
                <a:gd name="T3" fmla="*/ 47 h 47"/>
                <a:gd name="T4" fmla="*/ 250 w 250"/>
                <a:gd name="T5" fmla="*/ 47 h 47"/>
                <a:gd name="T6" fmla="*/ 250 w 250"/>
                <a:gd name="T7" fmla="*/ 11 h 47"/>
                <a:gd name="T8" fmla="*/ 239 w 250"/>
                <a:gd name="T9" fmla="*/ 0 h 47"/>
                <a:gd name="T10" fmla="*/ 12 w 250"/>
                <a:gd name="T11" fmla="*/ 0 h 47"/>
                <a:gd name="T12" fmla="*/ 0 w 250"/>
                <a:gd name="T13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7">
                  <a:moveTo>
                    <a:pt x="0" y="1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50" y="47"/>
                    <a:pt x="250" y="47"/>
                    <a:pt x="250" y="47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50" y="5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ṡḻiḍe"/>
            <p:cNvSpPr/>
            <p:nvPr/>
          </p:nvSpPr>
          <p:spPr bwMode="auto">
            <a:xfrm>
              <a:off x="3508375" y="4394200"/>
              <a:ext cx="865187" cy="58738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ş1ídè"/>
            <p:cNvSpPr/>
            <p:nvPr/>
          </p:nvSpPr>
          <p:spPr bwMode="auto">
            <a:xfrm>
              <a:off x="3508375" y="4394200"/>
              <a:ext cx="865187" cy="58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ṧļîḓê"/>
            <p:cNvSpPr/>
            <p:nvPr/>
          </p:nvSpPr>
          <p:spPr bwMode="auto">
            <a:xfrm>
              <a:off x="3508375" y="4452938"/>
              <a:ext cx="865187" cy="161925"/>
            </a:xfrm>
            <a:custGeom>
              <a:avLst/>
              <a:gdLst>
                <a:gd name="T0" fmla="*/ 0 w 250"/>
                <a:gd name="T1" fmla="*/ 11 h 47"/>
                <a:gd name="T2" fmla="*/ 0 w 250"/>
                <a:gd name="T3" fmla="*/ 47 h 47"/>
                <a:gd name="T4" fmla="*/ 250 w 250"/>
                <a:gd name="T5" fmla="*/ 47 h 47"/>
                <a:gd name="T6" fmla="*/ 250 w 250"/>
                <a:gd name="T7" fmla="*/ 11 h 47"/>
                <a:gd name="T8" fmla="*/ 239 w 250"/>
                <a:gd name="T9" fmla="*/ 0 h 47"/>
                <a:gd name="T10" fmla="*/ 12 w 250"/>
                <a:gd name="T11" fmla="*/ 0 h 47"/>
                <a:gd name="T12" fmla="*/ 0 w 250"/>
                <a:gd name="T13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7">
                  <a:moveTo>
                    <a:pt x="0" y="11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50" y="47"/>
                    <a:pt x="250" y="47"/>
                    <a:pt x="250" y="47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50" y="5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ṡ1íḍê"/>
            <p:cNvSpPr/>
            <p:nvPr/>
          </p:nvSpPr>
          <p:spPr bwMode="auto">
            <a:xfrm>
              <a:off x="3508375" y="4614863"/>
              <a:ext cx="865187" cy="58738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šḷîḑé"/>
            <p:cNvSpPr/>
            <p:nvPr/>
          </p:nvSpPr>
          <p:spPr bwMode="auto">
            <a:xfrm>
              <a:off x="3508375" y="4614863"/>
              <a:ext cx="865187" cy="58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şḷîḋe"/>
            <p:cNvSpPr/>
            <p:nvPr/>
          </p:nvSpPr>
          <p:spPr bwMode="auto">
            <a:xfrm>
              <a:off x="4748213" y="4673600"/>
              <a:ext cx="862012" cy="163513"/>
            </a:xfrm>
            <a:custGeom>
              <a:avLst/>
              <a:gdLst>
                <a:gd name="T0" fmla="*/ 0 w 249"/>
                <a:gd name="T1" fmla="*/ 11 h 47"/>
                <a:gd name="T2" fmla="*/ 0 w 249"/>
                <a:gd name="T3" fmla="*/ 47 h 47"/>
                <a:gd name="T4" fmla="*/ 249 w 249"/>
                <a:gd name="T5" fmla="*/ 47 h 47"/>
                <a:gd name="T6" fmla="*/ 249 w 249"/>
                <a:gd name="T7" fmla="*/ 11 h 47"/>
                <a:gd name="T8" fmla="*/ 238 w 249"/>
                <a:gd name="T9" fmla="*/ 0 h 47"/>
                <a:gd name="T10" fmla="*/ 11 w 249"/>
                <a:gd name="T11" fmla="*/ 0 h 47"/>
                <a:gd name="T12" fmla="*/ 0 w 249"/>
                <a:gd name="T13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47">
                  <a:moveTo>
                    <a:pt x="0" y="11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49" y="47"/>
                    <a:pt x="249" y="47"/>
                    <a:pt x="249" y="47"/>
                  </a:cubicBezTo>
                  <a:cubicBezTo>
                    <a:pt x="249" y="11"/>
                    <a:pt x="249" y="11"/>
                    <a:pt x="249" y="11"/>
                  </a:cubicBezTo>
                  <a:cubicBezTo>
                    <a:pt x="249" y="5"/>
                    <a:pt x="244" y="0"/>
                    <a:pt x="23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$ḷíďe"/>
            <p:cNvSpPr/>
            <p:nvPr/>
          </p:nvSpPr>
          <p:spPr bwMode="auto">
            <a:xfrm>
              <a:off x="4748213" y="4837113"/>
              <a:ext cx="862012" cy="58738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Sļîdê"/>
            <p:cNvSpPr/>
            <p:nvPr/>
          </p:nvSpPr>
          <p:spPr bwMode="auto">
            <a:xfrm>
              <a:off x="4748213" y="4837113"/>
              <a:ext cx="862012" cy="58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$ļíḓé"/>
            <p:cNvSpPr/>
            <p:nvPr/>
          </p:nvSpPr>
          <p:spPr bwMode="auto">
            <a:xfrm>
              <a:off x="4748213" y="4895850"/>
              <a:ext cx="862012" cy="163513"/>
            </a:xfrm>
            <a:custGeom>
              <a:avLst/>
              <a:gdLst>
                <a:gd name="T0" fmla="*/ 0 w 249"/>
                <a:gd name="T1" fmla="*/ 11 h 47"/>
                <a:gd name="T2" fmla="*/ 0 w 249"/>
                <a:gd name="T3" fmla="*/ 47 h 47"/>
                <a:gd name="T4" fmla="*/ 249 w 249"/>
                <a:gd name="T5" fmla="*/ 47 h 47"/>
                <a:gd name="T6" fmla="*/ 249 w 249"/>
                <a:gd name="T7" fmla="*/ 10 h 47"/>
                <a:gd name="T8" fmla="*/ 238 w 249"/>
                <a:gd name="T9" fmla="*/ 0 h 47"/>
                <a:gd name="T10" fmla="*/ 11 w 249"/>
                <a:gd name="T11" fmla="*/ 0 h 47"/>
                <a:gd name="T12" fmla="*/ 0 w 249"/>
                <a:gd name="T13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47">
                  <a:moveTo>
                    <a:pt x="0" y="11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49" y="47"/>
                    <a:pt x="249" y="47"/>
                    <a:pt x="249" y="47"/>
                  </a:cubicBezTo>
                  <a:cubicBezTo>
                    <a:pt x="249" y="10"/>
                    <a:pt x="249" y="10"/>
                    <a:pt x="249" y="10"/>
                  </a:cubicBezTo>
                  <a:cubicBezTo>
                    <a:pt x="249" y="4"/>
                    <a:pt x="244" y="0"/>
                    <a:pt x="23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$1ïďè"/>
            <p:cNvSpPr/>
            <p:nvPr/>
          </p:nvSpPr>
          <p:spPr bwMode="auto">
            <a:xfrm>
              <a:off x="4748213" y="5059363"/>
              <a:ext cx="862012" cy="58738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ŝlíďe"/>
            <p:cNvSpPr/>
            <p:nvPr/>
          </p:nvSpPr>
          <p:spPr bwMode="auto">
            <a:xfrm>
              <a:off x="4748213" y="5059363"/>
              <a:ext cx="862012" cy="58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$ļîḓé"/>
            <p:cNvSpPr/>
            <p:nvPr/>
          </p:nvSpPr>
          <p:spPr bwMode="auto">
            <a:xfrm>
              <a:off x="4748213" y="5118100"/>
              <a:ext cx="862012" cy="161925"/>
            </a:xfrm>
            <a:custGeom>
              <a:avLst/>
              <a:gdLst>
                <a:gd name="T0" fmla="*/ 0 w 249"/>
                <a:gd name="T1" fmla="*/ 11 h 47"/>
                <a:gd name="T2" fmla="*/ 0 w 249"/>
                <a:gd name="T3" fmla="*/ 47 h 47"/>
                <a:gd name="T4" fmla="*/ 249 w 249"/>
                <a:gd name="T5" fmla="*/ 47 h 47"/>
                <a:gd name="T6" fmla="*/ 249 w 249"/>
                <a:gd name="T7" fmla="*/ 10 h 47"/>
                <a:gd name="T8" fmla="*/ 238 w 249"/>
                <a:gd name="T9" fmla="*/ 0 h 47"/>
                <a:gd name="T10" fmla="*/ 11 w 249"/>
                <a:gd name="T11" fmla="*/ 0 h 47"/>
                <a:gd name="T12" fmla="*/ 0 w 249"/>
                <a:gd name="T13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47">
                  <a:moveTo>
                    <a:pt x="0" y="11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49" y="47"/>
                    <a:pt x="249" y="47"/>
                    <a:pt x="249" y="47"/>
                  </a:cubicBezTo>
                  <a:cubicBezTo>
                    <a:pt x="249" y="10"/>
                    <a:pt x="249" y="10"/>
                    <a:pt x="249" y="10"/>
                  </a:cubicBezTo>
                  <a:cubicBezTo>
                    <a:pt x="249" y="4"/>
                    <a:pt x="244" y="0"/>
                    <a:pt x="23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ṡľïdè"/>
            <p:cNvSpPr/>
            <p:nvPr/>
          </p:nvSpPr>
          <p:spPr bwMode="auto">
            <a:xfrm>
              <a:off x="4748213" y="5280025"/>
              <a:ext cx="862012" cy="55563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ṧḷïḍè"/>
            <p:cNvSpPr/>
            <p:nvPr/>
          </p:nvSpPr>
          <p:spPr bwMode="auto">
            <a:xfrm>
              <a:off x="4748213" y="5280025"/>
              <a:ext cx="862012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ṧliḍe"/>
            <p:cNvSpPr/>
            <p:nvPr/>
          </p:nvSpPr>
          <p:spPr bwMode="auto">
            <a:xfrm>
              <a:off x="4748213" y="5335588"/>
              <a:ext cx="862012" cy="166688"/>
            </a:xfrm>
            <a:custGeom>
              <a:avLst/>
              <a:gdLst>
                <a:gd name="T0" fmla="*/ 0 w 249"/>
                <a:gd name="T1" fmla="*/ 12 h 48"/>
                <a:gd name="T2" fmla="*/ 0 w 249"/>
                <a:gd name="T3" fmla="*/ 48 h 48"/>
                <a:gd name="T4" fmla="*/ 249 w 249"/>
                <a:gd name="T5" fmla="*/ 48 h 48"/>
                <a:gd name="T6" fmla="*/ 249 w 249"/>
                <a:gd name="T7" fmla="*/ 11 h 48"/>
                <a:gd name="T8" fmla="*/ 238 w 249"/>
                <a:gd name="T9" fmla="*/ 0 h 48"/>
                <a:gd name="T10" fmla="*/ 11 w 249"/>
                <a:gd name="T11" fmla="*/ 0 h 48"/>
                <a:gd name="T12" fmla="*/ 0 w 249"/>
                <a:gd name="T1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48">
                  <a:moveTo>
                    <a:pt x="0" y="12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49" y="48"/>
                    <a:pt x="249" y="48"/>
                    <a:pt x="249" y="48"/>
                  </a:cubicBezTo>
                  <a:cubicBezTo>
                    <a:pt x="249" y="11"/>
                    <a:pt x="249" y="11"/>
                    <a:pt x="249" y="11"/>
                  </a:cubicBezTo>
                  <a:cubicBezTo>
                    <a:pt x="249" y="5"/>
                    <a:pt x="244" y="0"/>
                    <a:pt x="23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Sľíde"/>
            <p:cNvSpPr/>
            <p:nvPr/>
          </p:nvSpPr>
          <p:spPr bwMode="auto">
            <a:xfrm>
              <a:off x="4748213" y="5502275"/>
              <a:ext cx="862012" cy="55563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š1ídê"/>
            <p:cNvSpPr/>
            <p:nvPr/>
          </p:nvSpPr>
          <p:spPr bwMode="auto">
            <a:xfrm>
              <a:off x="4748213" y="5502275"/>
              <a:ext cx="862012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ṥļiḍè"/>
            <p:cNvSpPr/>
            <p:nvPr/>
          </p:nvSpPr>
          <p:spPr bwMode="auto">
            <a:xfrm>
              <a:off x="5992813" y="5118100"/>
              <a:ext cx="865187" cy="161925"/>
            </a:xfrm>
            <a:custGeom>
              <a:avLst/>
              <a:gdLst>
                <a:gd name="T0" fmla="*/ 0 w 250"/>
                <a:gd name="T1" fmla="*/ 11 h 47"/>
                <a:gd name="T2" fmla="*/ 0 w 250"/>
                <a:gd name="T3" fmla="*/ 47 h 47"/>
                <a:gd name="T4" fmla="*/ 250 w 250"/>
                <a:gd name="T5" fmla="*/ 47 h 47"/>
                <a:gd name="T6" fmla="*/ 250 w 250"/>
                <a:gd name="T7" fmla="*/ 10 h 47"/>
                <a:gd name="T8" fmla="*/ 239 w 250"/>
                <a:gd name="T9" fmla="*/ 0 h 47"/>
                <a:gd name="T10" fmla="*/ 12 w 250"/>
                <a:gd name="T11" fmla="*/ 0 h 47"/>
                <a:gd name="T12" fmla="*/ 0 w 250"/>
                <a:gd name="T13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7">
                  <a:moveTo>
                    <a:pt x="0" y="11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250" y="47"/>
                    <a:pt x="250" y="47"/>
                    <a:pt x="250" y="47"/>
                  </a:cubicBezTo>
                  <a:cubicBezTo>
                    <a:pt x="250" y="10"/>
                    <a:pt x="250" y="10"/>
                    <a:pt x="250" y="10"/>
                  </a:cubicBezTo>
                  <a:cubicBezTo>
                    <a:pt x="250" y="4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$1îḑe"/>
            <p:cNvSpPr/>
            <p:nvPr/>
          </p:nvSpPr>
          <p:spPr bwMode="auto">
            <a:xfrm>
              <a:off x="5992813" y="5280025"/>
              <a:ext cx="865187" cy="55563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ṩlïḋe"/>
            <p:cNvSpPr/>
            <p:nvPr/>
          </p:nvSpPr>
          <p:spPr bwMode="auto">
            <a:xfrm>
              <a:off x="5992813" y="5280025"/>
              <a:ext cx="865187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ṡḷíḑé"/>
            <p:cNvSpPr/>
            <p:nvPr/>
          </p:nvSpPr>
          <p:spPr bwMode="auto">
            <a:xfrm>
              <a:off x="7250113" y="5308600"/>
              <a:ext cx="862012" cy="165100"/>
            </a:xfrm>
            <a:custGeom>
              <a:avLst/>
              <a:gdLst>
                <a:gd name="T0" fmla="*/ 0 w 249"/>
                <a:gd name="T1" fmla="*/ 12 h 48"/>
                <a:gd name="T2" fmla="*/ 0 w 249"/>
                <a:gd name="T3" fmla="*/ 48 h 48"/>
                <a:gd name="T4" fmla="*/ 249 w 249"/>
                <a:gd name="T5" fmla="*/ 48 h 48"/>
                <a:gd name="T6" fmla="*/ 249 w 249"/>
                <a:gd name="T7" fmla="*/ 11 h 48"/>
                <a:gd name="T8" fmla="*/ 238 w 249"/>
                <a:gd name="T9" fmla="*/ 0 h 48"/>
                <a:gd name="T10" fmla="*/ 12 w 249"/>
                <a:gd name="T11" fmla="*/ 0 h 48"/>
                <a:gd name="T12" fmla="*/ 0 w 249"/>
                <a:gd name="T1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48">
                  <a:moveTo>
                    <a:pt x="0" y="12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49" y="48"/>
                    <a:pt x="249" y="48"/>
                    <a:pt x="249" y="48"/>
                  </a:cubicBezTo>
                  <a:cubicBezTo>
                    <a:pt x="249" y="11"/>
                    <a:pt x="249" y="11"/>
                    <a:pt x="249" y="11"/>
                  </a:cubicBezTo>
                  <a:cubicBezTo>
                    <a:pt x="249" y="5"/>
                    <a:pt x="244" y="0"/>
                    <a:pt x="23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ṧlidè"/>
            <p:cNvSpPr/>
            <p:nvPr/>
          </p:nvSpPr>
          <p:spPr bwMode="auto">
            <a:xfrm>
              <a:off x="7250113" y="5473700"/>
              <a:ext cx="862012" cy="55563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ísḷïḑê"/>
            <p:cNvSpPr/>
            <p:nvPr/>
          </p:nvSpPr>
          <p:spPr bwMode="auto">
            <a:xfrm>
              <a:off x="7250113" y="5473700"/>
              <a:ext cx="862012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şľïde"/>
            <p:cNvSpPr/>
            <p:nvPr/>
          </p:nvSpPr>
          <p:spPr bwMode="auto">
            <a:xfrm>
              <a:off x="5992813" y="5335588"/>
              <a:ext cx="865187" cy="166688"/>
            </a:xfrm>
            <a:custGeom>
              <a:avLst/>
              <a:gdLst>
                <a:gd name="T0" fmla="*/ 0 w 250"/>
                <a:gd name="T1" fmla="*/ 12 h 48"/>
                <a:gd name="T2" fmla="*/ 0 w 250"/>
                <a:gd name="T3" fmla="*/ 48 h 48"/>
                <a:gd name="T4" fmla="*/ 250 w 250"/>
                <a:gd name="T5" fmla="*/ 48 h 48"/>
                <a:gd name="T6" fmla="*/ 250 w 250"/>
                <a:gd name="T7" fmla="*/ 11 h 48"/>
                <a:gd name="T8" fmla="*/ 239 w 250"/>
                <a:gd name="T9" fmla="*/ 0 h 48"/>
                <a:gd name="T10" fmla="*/ 12 w 250"/>
                <a:gd name="T11" fmla="*/ 0 h 48"/>
                <a:gd name="T12" fmla="*/ 0 w 250"/>
                <a:gd name="T1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8">
                  <a:moveTo>
                    <a:pt x="0" y="12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50" y="48"/>
                    <a:pt x="250" y="48"/>
                    <a:pt x="250" y="48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50" y="5"/>
                    <a:pt x="245" y="0"/>
                    <a:pt x="23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6"/>
                    <a:pt x="0" y="12"/>
                  </a:cubicBezTo>
                </a:path>
              </a:pathLst>
            </a:custGeom>
            <a:solidFill>
              <a:srgbClr val="F4B3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ïśļíḓé"/>
            <p:cNvSpPr/>
            <p:nvPr/>
          </p:nvSpPr>
          <p:spPr bwMode="auto">
            <a:xfrm>
              <a:off x="5992813" y="5502275"/>
              <a:ext cx="865187" cy="55563"/>
            </a:xfrm>
            <a:prstGeom prst="rect">
              <a:avLst/>
            </a:prstGeom>
            <a:solidFill>
              <a:srgbClr val="E78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şļïḋé"/>
            <p:cNvSpPr/>
            <p:nvPr/>
          </p:nvSpPr>
          <p:spPr bwMode="auto">
            <a:xfrm>
              <a:off x="5992813" y="5502275"/>
              <a:ext cx="865187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šḻïďé"/>
            <p:cNvSpPr/>
            <p:nvPr/>
          </p:nvSpPr>
          <p:spPr bwMode="auto">
            <a:xfrm>
              <a:off x="6819900" y="5335588"/>
              <a:ext cx="31750" cy="17463"/>
            </a:xfrm>
            <a:custGeom>
              <a:avLst/>
              <a:gdLst>
                <a:gd name="T0" fmla="*/ 1 w 9"/>
                <a:gd name="T1" fmla="*/ 0 h 5"/>
                <a:gd name="T2" fmla="*/ 0 w 9"/>
                <a:gd name="T3" fmla="*/ 0 h 5"/>
                <a:gd name="T4" fmla="*/ 9 w 9"/>
                <a:gd name="T5" fmla="*/ 5 h 5"/>
                <a:gd name="T6" fmla="*/ 1 w 9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5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7" y="2"/>
                    <a:pt x="9" y="5"/>
                  </a:cubicBezTo>
                  <a:cubicBezTo>
                    <a:pt x="6" y="0"/>
                    <a:pt x="1" y="0"/>
                    <a:pt x="1" y="0"/>
                  </a:cubicBezTo>
                </a:path>
              </a:pathLst>
            </a:custGeom>
            <a:solidFill>
              <a:srgbClr val="EAD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iš1ïḍè"/>
            <p:cNvSpPr/>
            <p:nvPr/>
          </p:nvSpPr>
          <p:spPr bwMode="auto">
            <a:xfrm>
              <a:off x="6450013" y="5118100"/>
              <a:ext cx="407987" cy="161925"/>
            </a:xfrm>
            <a:custGeom>
              <a:avLst/>
              <a:gdLst>
                <a:gd name="T0" fmla="*/ 107 w 118"/>
                <a:gd name="T1" fmla="*/ 0 h 47"/>
                <a:gd name="T2" fmla="*/ 0 w 118"/>
                <a:gd name="T3" fmla="*/ 0 h 47"/>
                <a:gd name="T4" fmla="*/ 0 w 118"/>
                <a:gd name="T5" fmla="*/ 38 h 47"/>
                <a:gd name="T6" fmla="*/ 0 w 118"/>
                <a:gd name="T7" fmla="*/ 47 h 47"/>
                <a:gd name="T8" fmla="*/ 118 w 118"/>
                <a:gd name="T9" fmla="*/ 47 h 47"/>
                <a:gd name="T10" fmla="*/ 118 w 118"/>
                <a:gd name="T11" fmla="*/ 10 h 47"/>
                <a:gd name="T12" fmla="*/ 107 w 118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47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18" y="4"/>
                    <a:pt x="113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ŝḻíďè"/>
            <p:cNvSpPr/>
            <p:nvPr/>
          </p:nvSpPr>
          <p:spPr bwMode="auto">
            <a:xfrm>
              <a:off x="6450013" y="528002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33 w 257"/>
                <a:gd name="T9" fmla="*/ 35 h 35"/>
                <a:gd name="T10" fmla="*/ 233 w 257"/>
                <a:gd name="T11" fmla="*/ 35 h 35"/>
                <a:gd name="T12" fmla="*/ 235 w 257"/>
                <a:gd name="T13" fmla="*/ 35 h 35"/>
                <a:gd name="T14" fmla="*/ 235 w 257"/>
                <a:gd name="T15" fmla="*/ 35 h 35"/>
                <a:gd name="T16" fmla="*/ 257 w 257"/>
                <a:gd name="T17" fmla="*/ 35 h 35"/>
                <a:gd name="T18" fmla="*/ 257 w 257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57" y="35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$lîḍè"/>
            <p:cNvSpPr/>
            <p:nvPr/>
          </p:nvSpPr>
          <p:spPr bwMode="auto">
            <a:xfrm>
              <a:off x="6450013" y="528002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33 w 257"/>
                <a:gd name="T9" fmla="*/ 35 h 35"/>
                <a:gd name="T10" fmla="*/ 233 w 257"/>
                <a:gd name="T11" fmla="*/ 35 h 35"/>
                <a:gd name="T12" fmla="*/ 235 w 257"/>
                <a:gd name="T13" fmla="*/ 35 h 35"/>
                <a:gd name="T14" fmla="*/ 235 w 257"/>
                <a:gd name="T15" fmla="*/ 35 h 35"/>
                <a:gd name="T16" fmla="*/ 257 w 257"/>
                <a:gd name="T17" fmla="*/ 35 h 35"/>
                <a:gd name="T18" fmla="*/ 257 w 257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57" y="35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iš1îḋe"/>
            <p:cNvSpPr/>
            <p:nvPr/>
          </p:nvSpPr>
          <p:spPr bwMode="auto">
            <a:xfrm>
              <a:off x="6450013" y="5335588"/>
              <a:ext cx="407987" cy="166688"/>
            </a:xfrm>
            <a:custGeom>
              <a:avLst/>
              <a:gdLst>
                <a:gd name="T0" fmla="*/ 107 w 118"/>
                <a:gd name="T1" fmla="*/ 0 h 48"/>
                <a:gd name="T2" fmla="*/ 0 w 118"/>
                <a:gd name="T3" fmla="*/ 0 h 48"/>
                <a:gd name="T4" fmla="*/ 0 w 118"/>
                <a:gd name="T5" fmla="*/ 48 h 48"/>
                <a:gd name="T6" fmla="*/ 118 w 118"/>
                <a:gd name="T7" fmla="*/ 48 h 48"/>
                <a:gd name="T8" fmla="*/ 118 w 118"/>
                <a:gd name="T9" fmla="*/ 11 h 48"/>
                <a:gd name="T10" fmla="*/ 118 w 118"/>
                <a:gd name="T11" fmla="*/ 11 h 48"/>
                <a:gd name="T12" fmla="*/ 116 w 118"/>
                <a:gd name="T13" fmla="*/ 5 h 48"/>
                <a:gd name="T14" fmla="*/ 107 w 118"/>
                <a:gd name="T15" fmla="*/ 0 h 48"/>
                <a:gd name="T16" fmla="*/ 107 w 118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48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7" y="9"/>
                    <a:pt x="117" y="7"/>
                    <a:pt x="116" y="5"/>
                  </a:cubicBezTo>
                  <a:cubicBezTo>
                    <a:pt x="114" y="2"/>
                    <a:pt x="110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ṡḷiďé"/>
            <p:cNvSpPr/>
            <p:nvPr/>
          </p:nvSpPr>
          <p:spPr bwMode="auto">
            <a:xfrm>
              <a:off x="6450013" y="550227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57 w 257"/>
                <a:gd name="T9" fmla="*/ 35 h 35"/>
                <a:gd name="T10" fmla="*/ 257 w 257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57" y="35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S1ïḑè"/>
            <p:cNvSpPr/>
            <p:nvPr/>
          </p:nvSpPr>
          <p:spPr bwMode="auto">
            <a:xfrm>
              <a:off x="6450013" y="550227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57 w 257"/>
                <a:gd name="T9" fmla="*/ 35 h 35"/>
                <a:gd name="T10" fmla="*/ 257 w 257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57" y="35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i$ḻide"/>
            <p:cNvSpPr/>
            <p:nvPr/>
          </p:nvSpPr>
          <p:spPr bwMode="auto">
            <a:xfrm>
              <a:off x="8081963" y="5308600"/>
              <a:ext cx="23812" cy="17463"/>
            </a:xfrm>
            <a:custGeom>
              <a:avLst/>
              <a:gdLst>
                <a:gd name="T0" fmla="*/ 1 w 7"/>
                <a:gd name="T1" fmla="*/ 0 h 5"/>
                <a:gd name="T2" fmla="*/ 0 w 7"/>
                <a:gd name="T3" fmla="*/ 0 h 5"/>
                <a:gd name="T4" fmla="*/ 7 w 7"/>
                <a:gd name="T5" fmla="*/ 5 h 5"/>
                <a:gd name="T6" fmla="*/ 1 w 7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5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2"/>
                    <a:pt x="7" y="5"/>
                  </a:cubicBezTo>
                  <a:cubicBezTo>
                    <a:pt x="5" y="2"/>
                    <a:pt x="2" y="1"/>
                    <a:pt x="1" y="0"/>
                  </a:cubicBezTo>
                </a:path>
              </a:pathLst>
            </a:custGeom>
            <a:solidFill>
              <a:srgbClr val="EAD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îṩḻiḋe"/>
            <p:cNvSpPr/>
            <p:nvPr/>
          </p:nvSpPr>
          <p:spPr bwMode="auto">
            <a:xfrm>
              <a:off x="7707313" y="5308600"/>
              <a:ext cx="404812" cy="165100"/>
            </a:xfrm>
            <a:custGeom>
              <a:avLst/>
              <a:gdLst>
                <a:gd name="T0" fmla="*/ 108 w 117"/>
                <a:gd name="T1" fmla="*/ 0 h 48"/>
                <a:gd name="T2" fmla="*/ 0 w 117"/>
                <a:gd name="T3" fmla="*/ 0 h 48"/>
                <a:gd name="T4" fmla="*/ 0 w 117"/>
                <a:gd name="T5" fmla="*/ 48 h 48"/>
                <a:gd name="T6" fmla="*/ 117 w 117"/>
                <a:gd name="T7" fmla="*/ 48 h 48"/>
                <a:gd name="T8" fmla="*/ 117 w 117"/>
                <a:gd name="T9" fmla="*/ 11 h 48"/>
                <a:gd name="T10" fmla="*/ 117 w 117"/>
                <a:gd name="T11" fmla="*/ 11 h 48"/>
                <a:gd name="T12" fmla="*/ 115 w 117"/>
                <a:gd name="T13" fmla="*/ 5 h 48"/>
                <a:gd name="T14" fmla="*/ 108 w 117"/>
                <a:gd name="T1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48">
                  <a:moveTo>
                    <a:pt x="10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8"/>
                    <a:pt x="116" y="6"/>
                    <a:pt x="115" y="5"/>
                  </a:cubicBezTo>
                  <a:cubicBezTo>
                    <a:pt x="114" y="2"/>
                    <a:pt x="111" y="1"/>
                    <a:pt x="108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ṩľîḓe"/>
            <p:cNvSpPr/>
            <p:nvPr/>
          </p:nvSpPr>
          <p:spPr bwMode="auto">
            <a:xfrm>
              <a:off x="7707313" y="5473700"/>
              <a:ext cx="404812" cy="55563"/>
            </a:xfrm>
            <a:custGeom>
              <a:avLst/>
              <a:gdLst>
                <a:gd name="T0" fmla="*/ 255 w 255"/>
                <a:gd name="T1" fmla="*/ 0 h 35"/>
                <a:gd name="T2" fmla="*/ 255 w 255"/>
                <a:gd name="T3" fmla="*/ 0 h 35"/>
                <a:gd name="T4" fmla="*/ 0 w 255"/>
                <a:gd name="T5" fmla="*/ 0 h 35"/>
                <a:gd name="T6" fmla="*/ 0 w 255"/>
                <a:gd name="T7" fmla="*/ 35 h 35"/>
                <a:gd name="T8" fmla="*/ 255 w 255"/>
                <a:gd name="T9" fmla="*/ 35 h 35"/>
                <a:gd name="T10" fmla="*/ 255 w 255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5" h="35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55" y="35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ṩļidê"/>
            <p:cNvSpPr/>
            <p:nvPr/>
          </p:nvSpPr>
          <p:spPr bwMode="auto">
            <a:xfrm>
              <a:off x="7707313" y="5473700"/>
              <a:ext cx="404812" cy="55563"/>
            </a:xfrm>
            <a:custGeom>
              <a:avLst/>
              <a:gdLst>
                <a:gd name="T0" fmla="*/ 255 w 255"/>
                <a:gd name="T1" fmla="*/ 0 h 35"/>
                <a:gd name="T2" fmla="*/ 255 w 255"/>
                <a:gd name="T3" fmla="*/ 0 h 35"/>
                <a:gd name="T4" fmla="*/ 0 w 255"/>
                <a:gd name="T5" fmla="*/ 0 h 35"/>
                <a:gd name="T6" fmla="*/ 0 w 255"/>
                <a:gd name="T7" fmla="*/ 35 h 35"/>
                <a:gd name="T8" fmla="*/ 255 w 255"/>
                <a:gd name="T9" fmla="*/ 35 h 35"/>
                <a:gd name="T10" fmla="*/ 255 w 255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5" h="35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55" y="35"/>
                  </a:lnTo>
                  <a:lnTo>
                    <a:pt x="2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î$ḷíḑê"/>
            <p:cNvSpPr/>
            <p:nvPr/>
          </p:nvSpPr>
          <p:spPr bwMode="auto">
            <a:xfrm>
              <a:off x="5572125" y="4895850"/>
              <a:ext cx="31750" cy="457200"/>
            </a:xfrm>
            <a:custGeom>
              <a:avLst/>
              <a:gdLst>
                <a:gd name="T0" fmla="*/ 1 w 9"/>
                <a:gd name="T1" fmla="*/ 127 h 132"/>
                <a:gd name="T2" fmla="*/ 0 w 9"/>
                <a:gd name="T3" fmla="*/ 127 h 132"/>
                <a:gd name="T4" fmla="*/ 9 w 9"/>
                <a:gd name="T5" fmla="*/ 132 h 132"/>
                <a:gd name="T6" fmla="*/ 1 w 9"/>
                <a:gd name="T7" fmla="*/ 127 h 132"/>
                <a:gd name="T8" fmla="*/ 1 w 9"/>
                <a:gd name="T9" fmla="*/ 0 h 132"/>
                <a:gd name="T10" fmla="*/ 0 w 9"/>
                <a:gd name="T11" fmla="*/ 0 h 132"/>
                <a:gd name="T12" fmla="*/ 9 w 9"/>
                <a:gd name="T13" fmla="*/ 4 h 132"/>
                <a:gd name="T14" fmla="*/ 1 w 9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32">
                  <a:moveTo>
                    <a:pt x="1" y="127"/>
                  </a:moveTo>
                  <a:cubicBezTo>
                    <a:pt x="0" y="127"/>
                    <a:pt x="0" y="127"/>
                    <a:pt x="0" y="127"/>
                  </a:cubicBezTo>
                  <a:cubicBezTo>
                    <a:pt x="4" y="127"/>
                    <a:pt x="7" y="129"/>
                    <a:pt x="9" y="132"/>
                  </a:cubicBezTo>
                  <a:cubicBezTo>
                    <a:pt x="6" y="127"/>
                    <a:pt x="1" y="127"/>
                    <a:pt x="1" y="127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7" y="1"/>
                    <a:pt x="9" y="4"/>
                  </a:cubicBezTo>
                  <a:cubicBezTo>
                    <a:pt x="6" y="0"/>
                    <a:pt x="1" y="0"/>
                    <a:pt x="1" y="0"/>
                  </a:cubicBezTo>
                </a:path>
              </a:pathLst>
            </a:custGeom>
            <a:solidFill>
              <a:srgbClr val="EAD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íṧļïḑè"/>
            <p:cNvSpPr/>
            <p:nvPr/>
          </p:nvSpPr>
          <p:spPr bwMode="auto">
            <a:xfrm>
              <a:off x="5205413" y="4673600"/>
              <a:ext cx="404812" cy="163513"/>
            </a:xfrm>
            <a:custGeom>
              <a:avLst/>
              <a:gdLst>
                <a:gd name="T0" fmla="*/ 106 w 117"/>
                <a:gd name="T1" fmla="*/ 0 h 47"/>
                <a:gd name="T2" fmla="*/ 0 w 117"/>
                <a:gd name="T3" fmla="*/ 0 h 47"/>
                <a:gd name="T4" fmla="*/ 0 w 117"/>
                <a:gd name="T5" fmla="*/ 38 h 47"/>
                <a:gd name="T6" fmla="*/ 0 w 117"/>
                <a:gd name="T7" fmla="*/ 47 h 47"/>
                <a:gd name="T8" fmla="*/ 117 w 117"/>
                <a:gd name="T9" fmla="*/ 47 h 47"/>
                <a:gd name="T10" fmla="*/ 117 w 117"/>
                <a:gd name="T11" fmla="*/ 11 h 47"/>
                <a:gd name="T12" fmla="*/ 106 w 117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47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5"/>
                    <a:pt x="112" y="0"/>
                    <a:pt x="106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íşḻidê"/>
            <p:cNvSpPr/>
            <p:nvPr/>
          </p:nvSpPr>
          <p:spPr bwMode="auto">
            <a:xfrm>
              <a:off x="5205413" y="4837113"/>
              <a:ext cx="404812" cy="58738"/>
            </a:xfrm>
            <a:custGeom>
              <a:avLst/>
              <a:gdLst>
                <a:gd name="T0" fmla="*/ 255 w 255"/>
                <a:gd name="T1" fmla="*/ 0 h 37"/>
                <a:gd name="T2" fmla="*/ 255 w 255"/>
                <a:gd name="T3" fmla="*/ 0 h 37"/>
                <a:gd name="T4" fmla="*/ 0 w 255"/>
                <a:gd name="T5" fmla="*/ 0 h 37"/>
                <a:gd name="T6" fmla="*/ 0 w 255"/>
                <a:gd name="T7" fmla="*/ 37 h 37"/>
                <a:gd name="T8" fmla="*/ 231 w 255"/>
                <a:gd name="T9" fmla="*/ 37 h 37"/>
                <a:gd name="T10" fmla="*/ 231 w 255"/>
                <a:gd name="T11" fmla="*/ 37 h 37"/>
                <a:gd name="T12" fmla="*/ 234 w 255"/>
                <a:gd name="T13" fmla="*/ 37 h 37"/>
                <a:gd name="T14" fmla="*/ 234 w 255"/>
                <a:gd name="T15" fmla="*/ 37 h 37"/>
                <a:gd name="T16" fmla="*/ 255 w 255"/>
                <a:gd name="T17" fmla="*/ 37 h 37"/>
                <a:gd name="T18" fmla="*/ 255 w 255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37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4" y="37"/>
                  </a:lnTo>
                  <a:lnTo>
                    <a:pt x="234" y="37"/>
                  </a:lnTo>
                  <a:lnTo>
                    <a:pt x="255" y="37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ṣ1ïḑè"/>
            <p:cNvSpPr/>
            <p:nvPr/>
          </p:nvSpPr>
          <p:spPr bwMode="auto">
            <a:xfrm>
              <a:off x="5205413" y="4837113"/>
              <a:ext cx="404812" cy="58738"/>
            </a:xfrm>
            <a:custGeom>
              <a:avLst/>
              <a:gdLst>
                <a:gd name="T0" fmla="*/ 255 w 255"/>
                <a:gd name="T1" fmla="*/ 0 h 37"/>
                <a:gd name="T2" fmla="*/ 255 w 255"/>
                <a:gd name="T3" fmla="*/ 0 h 37"/>
                <a:gd name="T4" fmla="*/ 0 w 255"/>
                <a:gd name="T5" fmla="*/ 0 h 37"/>
                <a:gd name="T6" fmla="*/ 0 w 255"/>
                <a:gd name="T7" fmla="*/ 37 h 37"/>
                <a:gd name="T8" fmla="*/ 231 w 255"/>
                <a:gd name="T9" fmla="*/ 37 h 37"/>
                <a:gd name="T10" fmla="*/ 231 w 255"/>
                <a:gd name="T11" fmla="*/ 37 h 37"/>
                <a:gd name="T12" fmla="*/ 234 w 255"/>
                <a:gd name="T13" fmla="*/ 37 h 37"/>
                <a:gd name="T14" fmla="*/ 234 w 255"/>
                <a:gd name="T15" fmla="*/ 37 h 37"/>
                <a:gd name="T16" fmla="*/ 255 w 255"/>
                <a:gd name="T17" fmla="*/ 37 h 37"/>
                <a:gd name="T18" fmla="*/ 255 w 255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37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4" y="37"/>
                  </a:lnTo>
                  <a:lnTo>
                    <a:pt x="234" y="37"/>
                  </a:lnTo>
                  <a:lnTo>
                    <a:pt x="255" y="37"/>
                  </a:lnTo>
                  <a:lnTo>
                    <a:pt x="2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iślïḍe"/>
            <p:cNvSpPr/>
            <p:nvPr/>
          </p:nvSpPr>
          <p:spPr bwMode="auto">
            <a:xfrm>
              <a:off x="5205413" y="4895850"/>
              <a:ext cx="404812" cy="163513"/>
            </a:xfrm>
            <a:custGeom>
              <a:avLst/>
              <a:gdLst>
                <a:gd name="T0" fmla="*/ 106 w 117"/>
                <a:gd name="T1" fmla="*/ 0 h 47"/>
                <a:gd name="T2" fmla="*/ 0 w 117"/>
                <a:gd name="T3" fmla="*/ 0 h 47"/>
                <a:gd name="T4" fmla="*/ 0 w 117"/>
                <a:gd name="T5" fmla="*/ 47 h 47"/>
                <a:gd name="T6" fmla="*/ 117 w 117"/>
                <a:gd name="T7" fmla="*/ 47 h 47"/>
                <a:gd name="T8" fmla="*/ 117 w 117"/>
                <a:gd name="T9" fmla="*/ 10 h 47"/>
                <a:gd name="T10" fmla="*/ 117 w 117"/>
                <a:gd name="T11" fmla="*/ 10 h 47"/>
                <a:gd name="T12" fmla="*/ 115 w 117"/>
                <a:gd name="T13" fmla="*/ 4 h 47"/>
                <a:gd name="T14" fmla="*/ 106 w 117"/>
                <a:gd name="T15" fmla="*/ 0 h 47"/>
                <a:gd name="T16" fmla="*/ 106 w 117"/>
                <a:gd name="T1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47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17" y="8"/>
                    <a:pt x="116" y="6"/>
                    <a:pt x="115" y="4"/>
                  </a:cubicBezTo>
                  <a:cubicBezTo>
                    <a:pt x="113" y="1"/>
                    <a:pt x="110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îşlïḑê"/>
            <p:cNvSpPr/>
            <p:nvPr/>
          </p:nvSpPr>
          <p:spPr bwMode="auto">
            <a:xfrm>
              <a:off x="5205413" y="5059363"/>
              <a:ext cx="404812" cy="58738"/>
            </a:xfrm>
            <a:custGeom>
              <a:avLst/>
              <a:gdLst>
                <a:gd name="T0" fmla="*/ 255 w 255"/>
                <a:gd name="T1" fmla="*/ 0 h 37"/>
                <a:gd name="T2" fmla="*/ 255 w 255"/>
                <a:gd name="T3" fmla="*/ 0 h 37"/>
                <a:gd name="T4" fmla="*/ 0 w 255"/>
                <a:gd name="T5" fmla="*/ 0 h 37"/>
                <a:gd name="T6" fmla="*/ 0 w 255"/>
                <a:gd name="T7" fmla="*/ 37 h 37"/>
                <a:gd name="T8" fmla="*/ 231 w 255"/>
                <a:gd name="T9" fmla="*/ 37 h 37"/>
                <a:gd name="T10" fmla="*/ 231 w 255"/>
                <a:gd name="T11" fmla="*/ 37 h 37"/>
                <a:gd name="T12" fmla="*/ 231 w 255"/>
                <a:gd name="T13" fmla="*/ 37 h 37"/>
                <a:gd name="T14" fmla="*/ 255 w 255"/>
                <a:gd name="T15" fmla="*/ 37 h 37"/>
                <a:gd name="T16" fmla="*/ 255 w 255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37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55" y="37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śḻiďè"/>
            <p:cNvSpPr/>
            <p:nvPr/>
          </p:nvSpPr>
          <p:spPr bwMode="auto">
            <a:xfrm>
              <a:off x="5205413" y="5059363"/>
              <a:ext cx="404812" cy="58738"/>
            </a:xfrm>
            <a:custGeom>
              <a:avLst/>
              <a:gdLst>
                <a:gd name="T0" fmla="*/ 255 w 255"/>
                <a:gd name="T1" fmla="*/ 0 h 37"/>
                <a:gd name="T2" fmla="*/ 255 w 255"/>
                <a:gd name="T3" fmla="*/ 0 h 37"/>
                <a:gd name="T4" fmla="*/ 0 w 255"/>
                <a:gd name="T5" fmla="*/ 0 h 37"/>
                <a:gd name="T6" fmla="*/ 0 w 255"/>
                <a:gd name="T7" fmla="*/ 37 h 37"/>
                <a:gd name="T8" fmla="*/ 231 w 255"/>
                <a:gd name="T9" fmla="*/ 37 h 37"/>
                <a:gd name="T10" fmla="*/ 231 w 255"/>
                <a:gd name="T11" fmla="*/ 37 h 37"/>
                <a:gd name="T12" fmla="*/ 231 w 255"/>
                <a:gd name="T13" fmla="*/ 37 h 37"/>
                <a:gd name="T14" fmla="*/ 255 w 255"/>
                <a:gd name="T15" fmla="*/ 37 h 37"/>
                <a:gd name="T16" fmla="*/ 255 w 255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37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55" y="37"/>
                  </a:lnTo>
                  <a:lnTo>
                    <a:pt x="2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íṥḻiḍê"/>
            <p:cNvSpPr/>
            <p:nvPr/>
          </p:nvSpPr>
          <p:spPr bwMode="auto">
            <a:xfrm>
              <a:off x="5205413" y="5118100"/>
              <a:ext cx="404812" cy="161925"/>
            </a:xfrm>
            <a:custGeom>
              <a:avLst/>
              <a:gdLst>
                <a:gd name="T0" fmla="*/ 106 w 117"/>
                <a:gd name="T1" fmla="*/ 0 h 47"/>
                <a:gd name="T2" fmla="*/ 0 w 117"/>
                <a:gd name="T3" fmla="*/ 0 h 47"/>
                <a:gd name="T4" fmla="*/ 0 w 117"/>
                <a:gd name="T5" fmla="*/ 38 h 47"/>
                <a:gd name="T6" fmla="*/ 0 w 117"/>
                <a:gd name="T7" fmla="*/ 47 h 47"/>
                <a:gd name="T8" fmla="*/ 117 w 117"/>
                <a:gd name="T9" fmla="*/ 47 h 47"/>
                <a:gd name="T10" fmla="*/ 117 w 117"/>
                <a:gd name="T11" fmla="*/ 10 h 47"/>
                <a:gd name="T12" fmla="*/ 106 w 117"/>
                <a:gd name="T13" fmla="*/ 0 h 47"/>
                <a:gd name="T14" fmla="*/ 106 w 117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47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17" y="4"/>
                    <a:pt x="112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iṩľïďè"/>
            <p:cNvSpPr/>
            <p:nvPr/>
          </p:nvSpPr>
          <p:spPr bwMode="auto">
            <a:xfrm>
              <a:off x="5205413" y="5280025"/>
              <a:ext cx="404812" cy="55563"/>
            </a:xfrm>
            <a:custGeom>
              <a:avLst/>
              <a:gdLst>
                <a:gd name="T0" fmla="*/ 255 w 255"/>
                <a:gd name="T1" fmla="*/ 0 h 35"/>
                <a:gd name="T2" fmla="*/ 255 w 255"/>
                <a:gd name="T3" fmla="*/ 0 h 35"/>
                <a:gd name="T4" fmla="*/ 0 w 255"/>
                <a:gd name="T5" fmla="*/ 0 h 35"/>
                <a:gd name="T6" fmla="*/ 0 w 255"/>
                <a:gd name="T7" fmla="*/ 35 h 35"/>
                <a:gd name="T8" fmla="*/ 231 w 255"/>
                <a:gd name="T9" fmla="*/ 35 h 35"/>
                <a:gd name="T10" fmla="*/ 231 w 255"/>
                <a:gd name="T11" fmla="*/ 35 h 35"/>
                <a:gd name="T12" fmla="*/ 234 w 255"/>
                <a:gd name="T13" fmla="*/ 35 h 35"/>
                <a:gd name="T14" fmla="*/ 234 w 255"/>
                <a:gd name="T15" fmla="*/ 35 h 35"/>
                <a:gd name="T16" fmla="*/ 255 w 255"/>
                <a:gd name="T17" fmla="*/ 35 h 35"/>
                <a:gd name="T18" fmla="*/ 255 w 255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35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31" y="35"/>
                  </a:lnTo>
                  <a:lnTo>
                    <a:pt x="231" y="35"/>
                  </a:lnTo>
                  <a:lnTo>
                    <a:pt x="234" y="35"/>
                  </a:lnTo>
                  <a:lnTo>
                    <a:pt x="234" y="35"/>
                  </a:lnTo>
                  <a:lnTo>
                    <a:pt x="255" y="35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ïṧļíde"/>
            <p:cNvSpPr/>
            <p:nvPr/>
          </p:nvSpPr>
          <p:spPr bwMode="auto">
            <a:xfrm>
              <a:off x="5205413" y="5280025"/>
              <a:ext cx="404812" cy="55563"/>
            </a:xfrm>
            <a:custGeom>
              <a:avLst/>
              <a:gdLst>
                <a:gd name="T0" fmla="*/ 255 w 255"/>
                <a:gd name="T1" fmla="*/ 0 h 35"/>
                <a:gd name="T2" fmla="*/ 255 w 255"/>
                <a:gd name="T3" fmla="*/ 0 h 35"/>
                <a:gd name="T4" fmla="*/ 0 w 255"/>
                <a:gd name="T5" fmla="*/ 0 h 35"/>
                <a:gd name="T6" fmla="*/ 0 w 255"/>
                <a:gd name="T7" fmla="*/ 35 h 35"/>
                <a:gd name="T8" fmla="*/ 231 w 255"/>
                <a:gd name="T9" fmla="*/ 35 h 35"/>
                <a:gd name="T10" fmla="*/ 231 w 255"/>
                <a:gd name="T11" fmla="*/ 35 h 35"/>
                <a:gd name="T12" fmla="*/ 234 w 255"/>
                <a:gd name="T13" fmla="*/ 35 h 35"/>
                <a:gd name="T14" fmla="*/ 234 w 255"/>
                <a:gd name="T15" fmla="*/ 35 h 35"/>
                <a:gd name="T16" fmla="*/ 255 w 255"/>
                <a:gd name="T17" fmla="*/ 35 h 35"/>
                <a:gd name="T18" fmla="*/ 255 w 255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35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31" y="35"/>
                  </a:lnTo>
                  <a:lnTo>
                    <a:pt x="231" y="35"/>
                  </a:lnTo>
                  <a:lnTo>
                    <a:pt x="234" y="35"/>
                  </a:lnTo>
                  <a:lnTo>
                    <a:pt x="234" y="35"/>
                  </a:lnTo>
                  <a:lnTo>
                    <a:pt x="255" y="35"/>
                  </a:lnTo>
                  <a:lnTo>
                    <a:pt x="2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ṡľíḋé"/>
            <p:cNvSpPr/>
            <p:nvPr/>
          </p:nvSpPr>
          <p:spPr bwMode="auto">
            <a:xfrm>
              <a:off x="5205413" y="5335588"/>
              <a:ext cx="404812" cy="166688"/>
            </a:xfrm>
            <a:custGeom>
              <a:avLst/>
              <a:gdLst>
                <a:gd name="T0" fmla="*/ 106 w 117"/>
                <a:gd name="T1" fmla="*/ 0 h 48"/>
                <a:gd name="T2" fmla="*/ 0 w 117"/>
                <a:gd name="T3" fmla="*/ 0 h 48"/>
                <a:gd name="T4" fmla="*/ 0 w 117"/>
                <a:gd name="T5" fmla="*/ 48 h 48"/>
                <a:gd name="T6" fmla="*/ 117 w 117"/>
                <a:gd name="T7" fmla="*/ 48 h 48"/>
                <a:gd name="T8" fmla="*/ 117 w 117"/>
                <a:gd name="T9" fmla="*/ 11 h 48"/>
                <a:gd name="T10" fmla="*/ 117 w 117"/>
                <a:gd name="T11" fmla="*/ 11 h 48"/>
                <a:gd name="T12" fmla="*/ 115 w 117"/>
                <a:gd name="T13" fmla="*/ 5 h 48"/>
                <a:gd name="T14" fmla="*/ 106 w 117"/>
                <a:gd name="T15" fmla="*/ 0 h 48"/>
                <a:gd name="T16" fmla="*/ 106 w 117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48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9"/>
                    <a:pt x="116" y="7"/>
                    <a:pt x="115" y="5"/>
                  </a:cubicBezTo>
                  <a:cubicBezTo>
                    <a:pt x="113" y="2"/>
                    <a:pt x="110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ṡľïḓé"/>
            <p:cNvSpPr/>
            <p:nvPr/>
          </p:nvSpPr>
          <p:spPr bwMode="auto">
            <a:xfrm>
              <a:off x="5205413" y="5502275"/>
              <a:ext cx="404812" cy="55563"/>
            </a:xfrm>
            <a:custGeom>
              <a:avLst/>
              <a:gdLst>
                <a:gd name="T0" fmla="*/ 255 w 255"/>
                <a:gd name="T1" fmla="*/ 0 h 35"/>
                <a:gd name="T2" fmla="*/ 255 w 255"/>
                <a:gd name="T3" fmla="*/ 0 h 35"/>
                <a:gd name="T4" fmla="*/ 0 w 255"/>
                <a:gd name="T5" fmla="*/ 0 h 35"/>
                <a:gd name="T6" fmla="*/ 0 w 255"/>
                <a:gd name="T7" fmla="*/ 35 h 35"/>
                <a:gd name="T8" fmla="*/ 255 w 255"/>
                <a:gd name="T9" fmla="*/ 35 h 35"/>
                <a:gd name="T10" fmla="*/ 255 w 255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5" h="35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55" y="35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Sḷîḋe"/>
            <p:cNvSpPr/>
            <p:nvPr/>
          </p:nvSpPr>
          <p:spPr bwMode="auto">
            <a:xfrm>
              <a:off x="5205413" y="5502275"/>
              <a:ext cx="404812" cy="55563"/>
            </a:xfrm>
            <a:custGeom>
              <a:avLst/>
              <a:gdLst>
                <a:gd name="T0" fmla="*/ 255 w 255"/>
                <a:gd name="T1" fmla="*/ 0 h 35"/>
                <a:gd name="T2" fmla="*/ 255 w 255"/>
                <a:gd name="T3" fmla="*/ 0 h 35"/>
                <a:gd name="T4" fmla="*/ 0 w 255"/>
                <a:gd name="T5" fmla="*/ 0 h 35"/>
                <a:gd name="T6" fmla="*/ 0 w 255"/>
                <a:gd name="T7" fmla="*/ 35 h 35"/>
                <a:gd name="T8" fmla="*/ 255 w 255"/>
                <a:gd name="T9" fmla="*/ 35 h 35"/>
                <a:gd name="T10" fmla="*/ 255 w 255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5" h="35">
                  <a:moveTo>
                    <a:pt x="255" y="0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55" y="35"/>
                  </a:lnTo>
                  <a:lnTo>
                    <a:pt x="2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íşḻíḓê"/>
            <p:cNvSpPr/>
            <p:nvPr/>
          </p:nvSpPr>
          <p:spPr bwMode="auto">
            <a:xfrm>
              <a:off x="3965575" y="4230688"/>
              <a:ext cx="401637" cy="900113"/>
            </a:xfrm>
            <a:custGeom>
              <a:avLst/>
              <a:gdLst>
                <a:gd name="T0" fmla="*/ 108 w 116"/>
                <a:gd name="T1" fmla="*/ 256 h 260"/>
                <a:gd name="T2" fmla="*/ 107 w 116"/>
                <a:gd name="T3" fmla="*/ 256 h 260"/>
                <a:gd name="T4" fmla="*/ 116 w 116"/>
                <a:gd name="T5" fmla="*/ 260 h 260"/>
                <a:gd name="T6" fmla="*/ 108 w 116"/>
                <a:gd name="T7" fmla="*/ 256 h 260"/>
                <a:gd name="T8" fmla="*/ 108 w 116"/>
                <a:gd name="T9" fmla="*/ 128 h 260"/>
                <a:gd name="T10" fmla="*/ 0 w 116"/>
                <a:gd name="T11" fmla="*/ 128 h 260"/>
                <a:gd name="T12" fmla="*/ 107 w 116"/>
                <a:gd name="T13" fmla="*/ 128 h 260"/>
                <a:gd name="T14" fmla="*/ 116 w 116"/>
                <a:gd name="T15" fmla="*/ 132 h 260"/>
                <a:gd name="T16" fmla="*/ 108 w 116"/>
                <a:gd name="T17" fmla="*/ 128 h 260"/>
                <a:gd name="T18" fmla="*/ 108 w 116"/>
                <a:gd name="T19" fmla="*/ 0 h 260"/>
                <a:gd name="T20" fmla="*/ 107 w 116"/>
                <a:gd name="T21" fmla="*/ 0 h 260"/>
                <a:gd name="T22" fmla="*/ 116 w 116"/>
                <a:gd name="T23" fmla="*/ 5 h 260"/>
                <a:gd name="T24" fmla="*/ 108 w 116"/>
                <a:gd name="T25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260">
                  <a:moveTo>
                    <a:pt x="108" y="256"/>
                  </a:moveTo>
                  <a:cubicBezTo>
                    <a:pt x="107" y="256"/>
                    <a:pt x="107" y="256"/>
                    <a:pt x="107" y="256"/>
                  </a:cubicBezTo>
                  <a:cubicBezTo>
                    <a:pt x="110" y="256"/>
                    <a:pt x="114" y="257"/>
                    <a:pt x="116" y="260"/>
                  </a:cubicBezTo>
                  <a:cubicBezTo>
                    <a:pt x="113" y="256"/>
                    <a:pt x="108" y="256"/>
                    <a:pt x="108" y="256"/>
                  </a:cubicBezTo>
                  <a:moveTo>
                    <a:pt x="108" y="128"/>
                  </a:moveTo>
                  <a:cubicBezTo>
                    <a:pt x="0" y="128"/>
                    <a:pt x="0" y="128"/>
                    <a:pt x="0" y="128"/>
                  </a:cubicBezTo>
                  <a:cubicBezTo>
                    <a:pt x="107" y="128"/>
                    <a:pt x="107" y="128"/>
                    <a:pt x="107" y="128"/>
                  </a:cubicBezTo>
                  <a:cubicBezTo>
                    <a:pt x="110" y="128"/>
                    <a:pt x="114" y="130"/>
                    <a:pt x="116" y="132"/>
                  </a:cubicBezTo>
                  <a:cubicBezTo>
                    <a:pt x="113" y="128"/>
                    <a:pt x="108" y="128"/>
                    <a:pt x="108" y="128"/>
                  </a:cubicBezTo>
                  <a:moveTo>
                    <a:pt x="108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110" y="0"/>
                    <a:pt x="114" y="2"/>
                    <a:pt x="116" y="5"/>
                  </a:cubicBezTo>
                  <a:cubicBezTo>
                    <a:pt x="113" y="0"/>
                    <a:pt x="108" y="0"/>
                    <a:pt x="108" y="0"/>
                  </a:cubicBezTo>
                </a:path>
              </a:pathLst>
            </a:custGeom>
            <a:solidFill>
              <a:srgbClr val="EAD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îṧ1ïdê"/>
            <p:cNvSpPr/>
            <p:nvPr/>
          </p:nvSpPr>
          <p:spPr bwMode="auto">
            <a:xfrm>
              <a:off x="3965575" y="4673600"/>
              <a:ext cx="407987" cy="163513"/>
            </a:xfrm>
            <a:custGeom>
              <a:avLst/>
              <a:gdLst>
                <a:gd name="T0" fmla="*/ 107 w 118"/>
                <a:gd name="T1" fmla="*/ 0 h 47"/>
                <a:gd name="T2" fmla="*/ 0 w 118"/>
                <a:gd name="T3" fmla="*/ 0 h 47"/>
                <a:gd name="T4" fmla="*/ 0 w 118"/>
                <a:gd name="T5" fmla="*/ 47 h 47"/>
                <a:gd name="T6" fmla="*/ 118 w 118"/>
                <a:gd name="T7" fmla="*/ 47 h 47"/>
                <a:gd name="T8" fmla="*/ 118 w 118"/>
                <a:gd name="T9" fmla="*/ 11 h 47"/>
                <a:gd name="T10" fmla="*/ 118 w 118"/>
                <a:gd name="T11" fmla="*/ 11 h 47"/>
                <a:gd name="T12" fmla="*/ 116 w 118"/>
                <a:gd name="T13" fmla="*/ 4 h 47"/>
                <a:gd name="T14" fmla="*/ 107 w 118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47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7" y="8"/>
                    <a:pt x="117" y="6"/>
                    <a:pt x="116" y="4"/>
                  </a:cubicBezTo>
                  <a:cubicBezTo>
                    <a:pt x="114" y="2"/>
                    <a:pt x="110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íṧlîḍè"/>
            <p:cNvSpPr/>
            <p:nvPr/>
          </p:nvSpPr>
          <p:spPr bwMode="auto">
            <a:xfrm>
              <a:off x="3965575" y="4837113"/>
              <a:ext cx="407987" cy="58738"/>
            </a:xfrm>
            <a:custGeom>
              <a:avLst/>
              <a:gdLst>
                <a:gd name="T0" fmla="*/ 257 w 257"/>
                <a:gd name="T1" fmla="*/ 0 h 37"/>
                <a:gd name="T2" fmla="*/ 257 w 257"/>
                <a:gd name="T3" fmla="*/ 0 h 37"/>
                <a:gd name="T4" fmla="*/ 0 w 257"/>
                <a:gd name="T5" fmla="*/ 0 h 37"/>
                <a:gd name="T6" fmla="*/ 0 w 257"/>
                <a:gd name="T7" fmla="*/ 37 h 37"/>
                <a:gd name="T8" fmla="*/ 233 w 257"/>
                <a:gd name="T9" fmla="*/ 37 h 37"/>
                <a:gd name="T10" fmla="*/ 233 w 257"/>
                <a:gd name="T11" fmla="*/ 37 h 37"/>
                <a:gd name="T12" fmla="*/ 233 w 257"/>
                <a:gd name="T13" fmla="*/ 37 h 37"/>
                <a:gd name="T14" fmla="*/ 257 w 257"/>
                <a:gd name="T15" fmla="*/ 37 h 37"/>
                <a:gd name="T16" fmla="*/ 257 w 257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37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57" y="37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slídê"/>
            <p:cNvSpPr/>
            <p:nvPr/>
          </p:nvSpPr>
          <p:spPr bwMode="auto">
            <a:xfrm>
              <a:off x="3965575" y="4837113"/>
              <a:ext cx="407987" cy="58738"/>
            </a:xfrm>
            <a:custGeom>
              <a:avLst/>
              <a:gdLst>
                <a:gd name="T0" fmla="*/ 257 w 257"/>
                <a:gd name="T1" fmla="*/ 0 h 37"/>
                <a:gd name="T2" fmla="*/ 257 w 257"/>
                <a:gd name="T3" fmla="*/ 0 h 37"/>
                <a:gd name="T4" fmla="*/ 0 w 257"/>
                <a:gd name="T5" fmla="*/ 0 h 37"/>
                <a:gd name="T6" fmla="*/ 0 w 257"/>
                <a:gd name="T7" fmla="*/ 37 h 37"/>
                <a:gd name="T8" fmla="*/ 233 w 257"/>
                <a:gd name="T9" fmla="*/ 37 h 37"/>
                <a:gd name="T10" fmla="*/ 233 w 257"/>
                <a:gd name="T11" fmla="*/ 37 h 37"/>
                <a:gd name="T12" fmla="*/ 233 w 257"/>
                <a:gd name="T13" fmla="*/ 37 h 37"/>
                <a:gd name="T14" fmla="*/ 257 w 257"/>
                <a:gd name="T15" fmla="*/ 37 h 37"/>
                <a:gd name="T16" fmla="*/ 257 w 257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37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57" y="37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í$ļïdê"/>
            <p:cNvSpPr/>
            <p:nvPr/>
          </p:nvSpPr>
          <p:spPr bwMode="auto">
            <a:xfrm>
              <a:off x="3965575" y="4895850"/>
              <a:ext cx="407987" cy="163513"/>
            </a:xfrm>
            <a:custGeom>
              <a:avLst/>
              <a:gdLst>
                <a:gd name="T0" fmla="*/ 107 w 118"/>
                <a:gd name="T1" fmla="*/ 0 h 47"/>
                <a:gd name="T2" fmla="*/ 0 w 118"/>
                <a:gd name="T3" fmla="*/ 0 h 47"/>
                <a:gd name="T4" fmla="*/ 0 w 118"/>
                <a:gd name="T5" fmla="*/ 38 h 47"/>
                <a:gd name="T6" fmla="*/ 0 w 118"/>
                <a:gd name="T7" fmla="*/ 47 h 47"/>
                <a:gd name="T8" fmla="*/ 118 w 118"/>
                <a:gd name="T9" fmla="*/ 47 h 47"/>
                <a:gd name="T10" fmla="*/ 118 w 118"/>
                <a:gd name="T11" fmla="*/ 10 h 47"/>
                <a:gd name="T12" fmla="*/ 107 w 118"/>
                <a:gd name="T13" fmla="*/ 0 h 47"/>
                <a:gd name="T14" fmla="*/ 107 w 118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47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18" y="4"/>
                    <a:pt x="113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śļîde"/>
            <p:cNvSpPr/>
            <p:nvPr/>
          </p:nvSpPr>
          <p:spPr bwMode="auto">
            <a:xfrm>
              <a:off x="3965575" y="5059363"/>
              <a:ext cx="407987" cy="58738"/>
            </a:xfrm>
            <a:custGeom>
              <a:avLst/>
              <a:gdLst>
                <a:gd name="T0" fmla="*/ 257 w 257"/>
                <a:gd name="T1" fmla="*/ 0 h 37"/>
                <a:gd name="T2" fmla="*/ 257 w 257"/>
                <a:gd name="T3" fmla="*/ 0 h 37"/>
                <a:gd name="T4" fmla="*/ 0 w 257"/>
                <a:gd name="T5" fmla="*/ 0 h 37"/>
                <a:gd name="T6" fmla="*/ 0 w 257"/>
                <a:gd name="T7" fmla="*/ 37 h 37"/>
                <a:gd name="T8" fmla="*/ 233 w 257"/>
                <a:gd name="T9" fmla="*/ 37 h 37"/>
                <a:gd name="T10" fmla="*/ 233 w 257"/>
                <a:gd name="T11" fmla="*/ 37 h 37"/>
                <a:gd name="T12" fmla="*/ 236 w 257"/>
                <a:gd name="T13" fmla="*/ 37 h 37"/>
                <a:gd name="T14" fmla="*/ 236 w 257"/>
                <a:gd name="T15" fmla="*/ 37 h 37"/>
                <a:gd name="T16" fmla="*/ 257 w 257"/>
                <a:gd name="T17" fmla="*/ 37 h 37"/>
                <a:gd name="T18" fmla="*/ 257 w 257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37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57" y="37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í$ļîḑé"/>
            <p:cNvSpPr/>
            <p:nvPr/>
          </p:nvSpPr>
          <p:spPr bwMode="auto">
            <a:xfrm>
              <a:off x="3965575" y="5059363"/>
              <a:ext cx="407987" cy="58738"/>
            </a:xfrm>
            <a:custGeom>
              <a:avLst/>
              <a:gdLst>
                <a:gd name="T0" fmla="*/ 257 w 257"/>
                <a:gd name="T1" fmla="*/ 0 h 37"/>
                <a:gd name="T2" fmla="*/ 257 w 257"/>
                <a:gd name="T3" fmla="*/ 0 h 37"/>
                <a:gd name="T4" fmla="*/ 0 w 257"/>
                <a:gd name="T5" fmla="*/ 0 h 37"/>
                <a:gd name="T6" fmla="*/ 0 w 257"/>
                <a:gd name="T7" fmla="*/ 37 h 37"/>
                <a:gd name="T8" fmla="*/ 233 w 257"/>
                <a:gd name="T9" fmla="*/ 37 h 37"/>
                <a:gd name="T10" fmla="*/ 233 w 257"/>
                <a:gd name="T11" fmla="*/ 37 h 37"/>
                <a:gd name="T12" fmla="*/ 236 w 257"/>
                <a:gd name="T13" fmla="*/ 37 h 37"/>
                <a:gd name="T14" fmla="*/ 236 w 257"/>
                <a:gd name="T15" fmla="*/ 37 h 37"/>
                <a:gd name="T16" fmla="*/ 257 w 257"/>
                <a:gd name="T17" fmla="*/ 37 h 37"/>
                <a:gd name="T18" fmla="*/ 257 w 257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37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57" y="37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îślîḓe"/>
            <p:cNvSpPr/>
            <p:nvPr/>
          </p:nvSpPr>
          <p:spPr bwMode="auto">
            <a:xfrm>
              <a:off x="3965575" y="5118100"/>
              <a:ext cx="407987" cy="161925"/>
            </a:xfrm>
            <a:custGeom>
              <a:avLst/>
              <a:gdLst>
                <a:gd name="T0" fmla="*/ 107 w 118"/>
                <a:gd name="T1" fmla="*/ 0 h 47"/>
                <a:gd name="T2" fmla="*/ 0 w 118"/>
                <a:gd name="T3" fmla="*/ 0 h 47"/>
                <a:gd name="T4" fmla="*/ 0 w 118"/>
                <a:gd name="T5" fmla="*/ 47 h 47"/>
                <a:gd name="T6" fmla="*/ 118 w 118"/>
                <a:gd name="T7" fmla="*/ 47 h 47"/>
                <a:gd name="T8" fmla="*/ 118 w 118"/>
                <a:gd name="T9" fmla="*/ 10 h 47"/>
                <a:gd name="T10" fmla="*/ 118 w 118"/>
                <a:gd name="T11" fmla="*/ 10 h 47"/>
                <a:gd name="T12" fmla="*/ 116 w 118"/>
                <a:gd name="T13" fmla="*/ 4 h 47"/>
                <a:gd name="T14" fmla="*/ 107 w 118"/>
                <a:gd name="T15" fmla="*/ 0 h 47"/>
                <a:gd name="T16" fmla="*/ 107 w 118"/>
                <a:gd name="T1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47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17" y="8"/>
                    <a:pt x="117" y="6"/>
                    <a:pt x="116" y="4"/>
                  </a:cubicBezTo>
                  <a:cubicBezTo>
                    <a:pt x="114" y="1"/>
                    <a:pt x="110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ísḷíḑe"/>
            <p:cNvSpPr/>
            <p:nvPr/>
          </p:nvSpPr>
          <p:spPr bwMode="auto">
            <a:xfrm>
              <a:off x="3965575" y="528002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33 w 257"/>
                <a:gd name="T9" fmla="*/ 35 h 35"/>
                <a:gd name="T10" fmla="*/ 233 w 257"/>
                <a:gd name="T11" fmla="*/ 35 h 35"/>
                <a:gd name="T12" fmla="*/ 233 w 257"/>
                <a:gd name="T13" fmla="*/ 35 h 35"/>
                <a:gd name="T14" fmla="*/ 257 w 257"/>
                <a:gd name="T15" fmla="*/ 35 h 35"/>
                <a:gd name="T16" fmla="*/ 257 w 257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57" y="35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ïşḻïdé"/>
            <p:cNvSpPr/>
            <p:nvPr/>
          </p:nvSpPr>
          <p:spPr bwMode="auto">
            <a:xfrm>
              <a:off x="3965575" y="528002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33 w 257"/>
                <a:gd name="T9" fmla="*/ 35 h 35"/>
                <a:gd name="T10" fmla="*/ 233 w 257"/>
                <a:gd name="T11" fmla="*/ 35 h 35"/>
                <a:gd name="T12" fmla="*/ 233 w 257"/>
                <a:gd name="T13" fmla="*/ 35 h 35"/>
                <a:gd name="T14" fmla="*/ 257 w 257"/>
                <a:gd name="T15" fmla="*/ 35 h 35"/>
                <a:gd name="T16" fmla="*/ 257 w 257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57" y="35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şḷidê"/>
            <p:cNvSpPr/>
            <p:nvPr/>
          </p:nvSpPr>
          <p:spPr bwMode="auto">
            <a:xfrm>
              <a:off x="3965575" y="5335588"/>
              <a:ext cx="407987" cy="166688"/>
            </a:xfrm>
            <a:custGeom>
              <a:avLst/>
              <a:gdLst>
                <a:gd name="T0" fmla="*/ 107 w 118"/>
                <a:gd name="T1" fmla="*/ 0 h 48"/>
                <a:gd name="T2" fmla="*/ 0 w 118"/>
                <a:gd name="T3" fmla="*/ 0 h 48"/>
                <a:gd name="T4" fmla="*/ 0 w 118"/>
                <a:gd name="T5" fmla="*/ 48 h 48"/>
                <a:gd name="T6" fmla="*/ 118 w 118"/>
                <a:gd name="T7" fmla="*/ 48 h 48"/>
                <a:gd name="T8" fmla="*/ 118 w 118"/>
                <a:gd name="T9" fmla="*/ 11 h 48"/>
                <a:gd name="T10" fmla="*/ 107 w 118"/>
                <a:gd name="T11" fmla="*/ 0 h 48"/>
                <a:gd name="T12" fmla="*/ 107 w 118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48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8" y="5"/>
                    <a:pt x="113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ṧḷiḍe"/>
            <p:cNvSpPr/>
            <p:nvPr/>
          </p:nvSpPr>
          <p:spPr bwMode="auto">
            <a:xfrm>
              <a:off x="3965575" y="550227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57 w 257"/>
                <a:gd name="T9" fmla="*/ 35 h 35"/>
                <a:gd name="T10" fmla="*/ 257 w 257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57" y="35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ïṡľîďê"/>
            <p:cNvSpPr/>
            <p:nvPr/>
          </p:nvSpPr>
          <p:spPr bwMode="auto">
            <a:xfrm>
              <a:off x="3965575" y="550227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57 w 257"/>
                <a:gd name="T9" fmla="*/ 35 h 35"/>
                <a:gd name="T10" fmla="*/ 257 w 257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57" y="35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îṧļîḋê"/>
            <p:cNvSpPr/>
            <p:nvPr/>
          </p:nvSpPr>
          <p:spPr bwMode="auto">
            <a:xfrm>
              <a:off x="3965575" y="4010025"/>
              <a:ext cx="407987" cy="165100"/>
            </a:xfrm>
            <a:custGeom>
              <a:avLst/>
              <a:gdLst>
                <a:gd name="T0" fmla="*/ 107 w 118"/>
                <a:gd name="T1" fmla="*/ 0 h 48"/>
                <a:gd name="T2" fmla="*/ 0 w 118"/>
                <a:gd name="T3" fmla="*/ 0 h 48"/>
                <a:gd name="T4" fmla="*/ 0 w 118"/>
                <a:gd name="T5" fmla="*/ 38 h 48"/>
                <a:gd name="T6" fmla="*/ 0 w 118"/>
                <a:gd name="T7" fmla="*/ 48 h 48"/>
                <a:gd name="T8" fmla="*/ 118 w 118"/>
                <a:gd name="T9" fmla="*/ 48 h 48"/>
                <a:gd name="T10" fmla="*/ 118 w 118"/>
                <a:gd name="T11" fmla="*/ 11 h 48"/>
                <a:gd name="T12" fmla="*/ 107 w 118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48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8" y="5"/>
                    <a:pt x="113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iṡļíḓe"/>
            <p:cNvSpPr/>
            <p:nvPr/>
          </p:nvSpPr>
          <p:spPr bwMode="auto">
            <a:xfrm>
              <a:off x="3965575" y="417512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33 w 257"/>
                <a:gd name="T9" fmla="*/ 35 h 35"/>
                <a:gd name="T10" fmla="*/ 233 w 257"/>
                <a:gd name="T11" fmla="*/ 35 h 35"/>
                <a:gd name="T12" fmla="*/ 236 w 257"/>
                <a:gd name="T13" fmla="*/ 35 h 35"/>
                <a:gd name="T14" fmla="*/ 236 w 257"/>
                <a:gd name="T15" fmla="*/ 35 h 35"/>
                <a:gd name="T16" fmla="*/ 257 w 257"/>
                <a:gd name="T17" fmla="*/ 35 h 35"/>
                <a:gd name="T18" fmla="*/ 257 w 257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36" y="35"/>
                  </a:lnTo>
                  <a:lnTo>
                    <a:pt x="236" y="35"/>
                  </a:lnTo>
                  <a:lnTo>
                    <a:pt x="257" y="35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ṡ1iḍé"/>
            <p:cNvSpPr/>
            <p:nvPr/>
          </p:nvSpPr>
          <p:spPr bwMode="auto">
            <a:xfrm>
              <a:off x="3965575" y="4175125"/>
              <a:ext cx="407987" cy="55563"/>
            </a:xfrm>
            <a:custGeom>
              <a:avLst/>
              <a:gdLst>
                <a:gd name="T0" fmla="*/ 257 w 257"/>
                <a:gd name="T1" fmla="*/ 0 h 35"/>
                <a:gd name="T2" fmla="*/ 257 w 257"/>
                <a:gd name="T3" fmla="*/ 0 h 35"/>
                <a:gd name="T4" fmla="*/ 0 w 257"/>
                <a:gd name="T5" fmla="*/ 0 h 35"/>
                <a:gd name="T6" fmla="*/ 0 w 257"/>
                <a:gd name="T7" fmla="*/ 35 h 35"/>
                <a:gd name="T8" fmla="*/ 233 w 257"/>
                <a:gd name="T9" fmla="*/ 35 h 35"/>
                <a:gd name="T10" fmla="*/ 233 w 257"/>
                <a:gd name="T11" fmla="*/ 35 h 35"/>
                <a:gd name="T12" fmla="*/ 236 w 257"/>
                <a:gd name="T13" fmla="*/ 35 h 35"/>
                <a:gd name="T14" fmla="*/ 236 w 257"/>
                <a:gd name="T15" fmla="*/ 35 h 35"/>
                <a:gd name="T16" fmla="*/ 257 w 257"/>
                <a:gd name="T17" fmla="*/ 35 h 35"/>
                <a:gd name="T18" fmla="*/ 257 w 257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35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36" y="35"/>
                  </a:lnTo>
                  <a:lnTo>
                    <a:pt x="236" y="35"/>
                  </a:lnTo>
                  <a:lnTo>
                    <a:pt x="257" y="35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îṩlíḋê"/>
            <p:cNvSpPr/>
            <p:nvPr/>
          </p:nvSpPr>
          <p:spPr bwMode="auto">
            <a:xfrm>
              <a:off x="3965575" y="4230688"/>
              <a:ext cx="407987" cy="163513"/>
            </a:xfrm>
            <a:custGeom>
              <a:avLst/>
              <a:gdLst>
                <a:gd name="T0" fmla="*/ 107 w 118"/>
                <a:gd name="T1" fmla="*/ 0 h 47"/>
                <a:gd name="T2" fmla="*/ 0 w 118"/>
                <a:gd name="T3" fmla="*/ 0 h 47"/>
                <a:gd name="T4" fmla="*/ 0 w 118"/>
                <a:gd name="T5" fmla="*/ 47 h 47"/>
                <a:gd name="T6" fmla="*/ 118 w 118"/>
                <a:gd name="T7" fmla="*/ 47 h 47"/>
                <a:gd name="T8" fmla="*/ 118 w 118"/>
                <a:gd name="T9" fmla="*/ 11 h 47"/>
                <a:gd name="T10" fmla="*/ 118 w 118"/>
                <a:gd name="T11" fmla="*/ 11 h 47"/>
                <a:gd name="T12" fmla="*/ 116 w 118"/>
                <a:gd name="T13" fmla="*/ 5 h 47"/>
                <a:gd name="T14" fmla="*/ 107 w 118"/>
                <a:gd name="T15" fmla="*/ 0 h 47"/>
                <a:gd name="T16" fmla="*/ 107 w 118"/>
                <a:gd name="T1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47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7" y="8"/>
                    <a:pt x="117" y="6"/>
                    <a:pt x="116" y="5"/>
                  </a:cubicBezTo>
                  <a:cubicBezTo>
                    <a:pt x="114" y="2"/>
                    <a:pt x="110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íṩḷîḍe"/>
            <p:cNvSpPr/>
            <p:nvPr/>
          </p:nvSpPr>
          <p:spPr bwMode="auto">
            <a:xfrm>
              <a:off x="3965575" y="4394200"/>
              <a:ext cx="407987" cy="58738"/>
            </a:xfrm>
            <a:custGeom>
              <a:avLst/>
              <a:gdLst>
                <a:gd name="T0" fmla="*/ 257 w 257"/>
                <a:gd name="T1" fmla="*/ 0 h 37"/>
                <a:gd name="T2" fmla="*/ 257 w 257"/>
                <a:gd name="T3" fmla="*/ 0 h 37"/>
                <a:gd name="T4" fmla="*/ 0 w 257"/>
                <a:gd name="T5" fmla="*/ 0 h 37"/>
                <a:gd name="T6" fmla="*/ 0 w 257"/>
                <a:gd name="T7" fmla="*/ 37 h 37"/>
                <a:gd name="T8" fmla="*/ 233 w 257"/>
                <a:gd name="T9" fmla="*/ 37 h 37"/>
                <a:gd name="T10" fmla="*/ 233 w 257"/>
                <a:gd name="T11" fmla="*/ 37 h 37"/>
                <a:gd name="T12" fmla="*/ 233 w 257"/>
                <a:gd name="T13" fmla="*/ 37 h 37"/>
                <a:gd name="T14" fmla="*/ 257 w 257"/>
                <a:gd name="T15" fmla="*/ 37 h 37"/>
                <a:gd name="T16" fmla="*/ 257 w 257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37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57" y="37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ïS1iḋè"/>
            <p:cNvSpPr/>
            <p:nvPr/>
          </p:nvSpPr>
          <p:spPr bwMode="auto">
            <a:xfrm>
              <a:off x="3965575" y="4394200"/>
              <a:ext cx="407987" cy="58738"/>
            </a:xfrm>
            <a:custGeom>
              <a:avLst/>
              <a:gdLst>
                <a:gd name="T0" fmla="*/ 257 w 257"/>
                <a:gd name="T1" fmla="*/ 0 h 37"/>
                <a:gd name="T2" fmla="*/ 257 w 257"/>
                <a:gd name="T3" fmla="*/ 0 h 37"/>
                <a:gd name="T4" fmla="*/ 0 w 257"/>
                <a:gd name="T5" fmla="*/ 0 h 37"/>
                <a:gd name="T6" fmla="*/ 0 w 257"/>
                <a:gd name="T7" fmla="*/ 37 h 37"/>
                <a:gd name="T8" fmla="*/ 233 w 257"/>
                <a:gd name="T9" fmla="*/ 37 h 37"/>
                <a:gd name="T10" fmla="*/ 233 w 257"/>
                <a:gd name="T11" fmla="*/ 37 h 37"/>
                <a:gd name="T12" fmla="*/ 233 w 257"/>
                <a:gd name="T13" fmla="*/ 37 h 37"/>
                <a:gd name="T14" fmla="*/ 257 w 257"/>
                <a:gd name="T15" fmla="*/ 37 h 37"/>
                <a:gd name="T16" fmla="*/ 257 w 257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37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33" y="37"/>
                  </a:lnTo>
                  <a:lnTo>
                    <a:pt x="257" y="37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iṣḷïďé"/>
            <p:cNvSpPr/>
            <p:nvPr/>
          </p:nvSpPr>
          <p:spPr bwMode="auto">
            <a:xfrm>
              <a:off x="3965575" y="4452938"/>
              <a:ext cx="407987" cy="161925"/>
            </a:xfrm>
            <a:custGeom>
              <a:avLst/>
              <a:gdLst>
                <a:gd name="T0" fmla="*/ 107 w 118"/>
                <a:gd name="T1" fmla="*/ 0 h 47"/>
                <a:gd name="T2" fmla="*/ 0 w 118"/>
                <a:gd name="T3" fmla="*/ 0 h 47"/>
                <a:gd name="T4" fmla="*/ 0 w 118"/>
                <a:gd name="T5" fmla="*/ 38 h 47"/>
                <a:gd name="T6" fmla="*/ 0 w 118"/>
                <a:gd name="T7" fmla="*/ 47 h 47"/>
                <a:gd name="T8" fmla="*/ 118 w 118"/>
                <a:gd name="T9" fmla="*/ 47 h 47"/>
                <a:gd name="T10" fmla="*/ 118 w 118"/>
                <a:gd name="T11" fmla="*/ 11 h 47"/>
                <a:gd name="T12" fmla="*/ 107 w 118"/>
                <a:gd name="T13" fmla="*/ 0 h 47"/>
                <a:gd name="T14" fmla="*/ 107 w 118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47">
                  <a:moveTo>
                    <a:pt x="10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8" y="5"/>
                    <a:pt x="113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1A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iş1îḓe"/>
            <p:cNvSpPr/>
            <p:nvPr/>
          </p:nvSpPr>
          <p:spPr bwMode="auto">
            <a:xfrm>
              <a:off x="3965575" y="4614863"/>
              <a:ext cx="407987" cy="58738"/>
            </a:xfrm>
            <a:custGeom>
              <a:avLst/>
              <a:gdLst>
                <a:gd name="T0" fmla="*/ 257 w 257"/>
                <a:gd name="T1" fmla="*/ 0 h 37"/>
                <a:gd name="T2" fmla="*/ 257 w 257"/>
                <a:gd name="T3" fmla="*/ 0 h 37"/>
                <a:gd name="T4" fmla="*/ 0 w 257"/>
                <a:gd name="T5" fmla="*/ 0 h 37"/>
                <a:gd name="T6" fmla="*/ 0 w 257"/>
                <a:gd name="T7" fmla="*/ 37 h 37"/>
                <a:gd name="T8" fmla="*/ 236 w 257"/>
                <a:gd name="T9" fmla="*/ 37 h 37"/>
                <a:gd name="T10" fmla="*/ 236 w 257"/>
                <a:gd name="T11" fmla="*/ 37 h 37"/>
                <a:gd name="T12" fmla="*/ 257 w 257"/>
                <a:gd name="T13" fmla="*/ 37 h 37"/>
                <a:gd name="T14" fmla="*/ 257 w 25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7" h="37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57" y="37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67E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ïṧḻïdè"/>
            <p:cNvSpPr/>
            <p:nvPr/>
          </p:nvSpPr>
          <p:spPr bwMode="auto">
            <a:xfrm>
              <a:off x="3965575" y="4614863"/>
              <a:ext cx="407987" cy="58738"/>
            </a:xfrm>
            <a:custGeom>
              <a:avLst/>
              <a:gdLst>
                <a:gd name="T0" fmla="*/ 257 w 257"/>
                <a:gd name="T1" fmla="*/ 0 h 37"/>
                <a:gd name="T2" fmla="*/ 257 w 257"/>
                <a:gd name="T3" fmla="*/ 0 h 37"/>
                <a:gd name="T4" fmla="*/ 0 w 257"/>
                <a:gd name="T5" fmla="*/ 0 h 37"/>
                <a:gd name="T6" fmla="*/ 0 w 257"/>
                <a:gd name="T7" fmla="*/ 37 h 37"/>
                <a:gd name="T8" fmla="*/ 236 w 257"/>
                <a:gd name="T9" fmla="*/ 37 h 37"/>
                <a:gd name="T10" fmla="*/ 236 w 257"/>
                <a:gd name="T11" fmla="*/ 37 h 37"/>
                <a:gd name="T12" fmla="*/ 257 w 257"/>
                <a:gd name="T13" fmla="*/ 37 h 37"/>
                <a:gd name="T14" fmla="*/ 257 w 25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7" h="37">
                  <a:moveTo>
                    <a:pt x="257" y="0"/>
                  </a:moveTo>
                  <a:lnTo>
                    <a:pt x="257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57" y="37"/>
                  </a:lnTo>
                  <a:lnTo>
                    <a:pt x="2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îśľîḋê"/>
            <p:cNvSpPr/>
            <p:nvPr/>
          </p:nvSpPr>
          <p:spPr bwMode="auto">
            <a:xfrm>
              <a:off x="3508375" y="4010025"/>
              <a:ext cx="204787" cy="1366838"/>
            </a:xfrm>
            <a:custGeom>
              <a:avLst/>
              <a:gdLst>
                <a:gd name="T0" fmla="*/ 12 w 59"/>
                <a:gd name="T1" fmla="*/ 383 h 395"/>
                <a:gd name="T2" fmla="*/ 11 w 59"/>
                <a:gd name="T3" fmla="*/ 383 h 395"/>
                <a:gd name="T4" fmla="*/ 0 w 59"/>
                <a:gd name="T5" fmla="*/ 394 h 395"/>
                <a:gd name="T6" fmla="*/ 0 w 59"/>
                <a:gd name="T7" fmla="*/ 395 h 395"/>
                <a:gd name="T8" fmla="*/ 12 w 59"/>
                <a:gd name="T9" fmla="*/ 383 h 395"/>
                <a:gd name="T10" fmla="*/ 12 w 59"/>
                <a:gd name="T11" fmla="*/ 320 h 395"/>
                <a:gd name="T12" fmla="*/ 10 w 59"/>
                <a:gd name="T13" fmla="*/ 320 h 395"/>
                <a:gd name="T14" fmla="*/ 0 w 59"/>
                <a:gd name="T15" fmla="*/ 330 h 395"/>
                <a:gd name="T16" fmla="*/ 0 w 59"/>
                <a:gd name="T17" fmla="*/ 331 h 395"/>
                <a:gd name="T18" fmla="*/ 12 w 59"/>
                <a:gd name="T19" fmla="*/ 320 h 395"/>
                <a:gd name="T20" fmla="*/ 12 w 59"/>
                <a:gd name="T21" fmla="*/ 256 h 395"/>
                <a:gd name="T22" fmla="*/ 11 w 59"/>
                <a:gd name="T23" fmla="*/ 256 h 395"/>
                <a:gd name="T24" fmla="*/ 0 w 59"/>
                <a:gd name="T25" fmla="*/ 266 h 395"/>
                <a:gd name="T26" fmla="*/ 0 w 59"/>
                <a:gd name="T27" fmla="*/ 267 h 395"/>
                <a:gd name="T28" fmla="*/ 12 w 59"/>
                <a:gd name="T29" fmla="*/ 256 h 395"/>
                <a:gd name="T30" fmla="*/ 59 w 59"/>
                <a:gd name="T31" fmla="*/ 192 h 395"/>
                <a:gd name="T32" fmla="*/ 10 w 59"/>
                <a:gd name="T33" fmla="*/ 192 h 395"/>
                <a:gd name="T34" fmla="*/ 0 w 59"/>
                <a:gd name="T35" fmla="*/ 203 h 395"/>
                <a:gd name="T36" fmla="*/ 0 w 59"/>
                <a:gd name="T37" fmla="*/ 203 h 395"/>
                <a:gd name="T38" fmla="*/ 12 w 59"/>
                <a:gd name="T39" fmla="*/ 192 h 395"/>
                <a:gd name="T40" fmla="*/ 59 w 59"/>
                <a:gd name="T41" fmla="*/ 192 h 395"/>
                <a:gd name="T42" fmla="*/ 12 w 59"/>
                <a:gd name="T43" fmla="*/ 128 h 395"/>
                <a:gd name="T44" fmla="*/ 11 w 59"/>
                <a:gd name="T45" fmla="*/ 128 h 395"/>
                <a:gd name="T46" fmla="*/ 0 w 59"/>
                <a:gd name="T47" fmla="*/ 139 h 395"/>
                <a:gd name="T48" fmla="*/ 0 w 59"/>
                <a:gd name="T49" fmla="*/ 139 h 395"/>
                <a:gd name="T50" fmla="*/ 12 w 59"/>
                <a:gd name="T51" fmla="*/ 128 h 395"/>
                <a:gd name="T52" fmla="*/ 12 w 59"/>
                <a:gd name="T53" fmla="*/ 64 h 395"/>
                <a:gd name="T54" fmla="*/ 10 w 59"/>
                <a:gd name="T55" fmla="*/ 64 h 395"/>
                <a:gd name="T56" fmla="*/ 0 w 59"/>
                <a:gd name="T57" fmla="*/ 75 h 395"/>
                <a:gd name="T58" fmla="*/ 0 w 59"/>
                <a:gd name="T59" fmla="*/ 76 h 395"/>
                <a:gd name="T60" fmla="*/ 12 w 59"/>
                <a:gd name="T61" fmla="*/ 64 h 395"/>
                <a:gd name="T62" fmla="*/ 59 w 59"/>
                <a:gd name="T63" fmla="*/ 0 h 395"/>
                <a:gd name="T64" fmla="*/ 11 w 59"/>
                <a:gd name="T65" fmla="*/ 0 h 395"/>
                <a:gd name="T66" fmla="*/ 0 w 59"/>
                <a:gd name="T67" fmla="*/ 11 h 395"/>
                <a:gd name="T68" fmla="*/ 0 w 59"/>
                <a:gd name="T69" fmla="*/ 12 h 395"/>
                <a:gd name="T70" fmla="*/ 12 w 59"/>
                <a:gd name="T71" fmla="*/ 0 h 395"/>
                <a:gd name="T72" fmla="*/ 59 w 59"/>
                <a:gd name="T73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9" h="395">
                  <a:moveTo>
                    <a:pt x="12" y="383"/>
                  </a:moveTo>
                  <a:cubicBezTo>
                    <a:pt x="11" y="383"/>
                    <a:pt x="11" y="383"/>
                    <a:pt x="11" y="383"/>
                  </a:cubicBezTo>
                  <a:cubicBezTo>
                    <a:pt x="5" y="383"/>
                    <a:pt x="0" y="388"/>
                    <a:pt x="0" y="394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0" y="389"/>
                    <a:pt x="6" y="383"/>
                    <a:pt x="12" y="383"/>
                  </a:cubicBezTo>
                  <a:moveTo>
                    <a:pt x="12" y="320"/>
                  </a:moveTo>
                  <a:cubicBezTo>
                    <a:pt x="10" y="320"/>
                    <a:pt x="10" y="320"/>
                    <a:pt x="10" y="320"/>
                  </a:cubicBezTo>
                  <a:cubicBezTo>
                    <a:pt x="10" y="320"/>
                    <a:pt x="1" y="320"/>
                    <a:pt x="0" y="330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0" y="325"/>
                    <a:pt x="6" y="320"/>
                    <a:pt x="12" y="320"/>
                  </a:cubicBezTo>
                  <a:moveTo>
                    <a:pt x="12" y="256"/>
                  </a:moveTo>
                  <a:cubicBezTo>
                    <a:pt x="11" y="256"/>
                    <a:pt x="11" y="256"/>
                    <a:pt x="11" y="256"/>
                  </a:cubicBezTo>
                  <a:cubicBezTo>
                    <a:pt x="5" y="256"/>
                    <a:pt x="0" y="260"/>
                    <a:pt x="0" y="266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61"/>
                    <a:pt x="6" y="256"/>
                    <a:pt x="12" y="256"/>
                  </a:cubicBezTo>
                  <a:moveTo>
                    <a:pt x="59" y="192"/>
                  </a:moveTo>
                  <a:cubicBezTo>
                    <a:pt x="10" y="192"/>
                    <a:pt x="10" y="192"/>
                    <a:pt x="10" y="192"/>
                  </a:cubicBezTo>
                  <a:cubicBezTo>
                    <a:pt x="10" y="192"/>
                    <a:pt x="1" y="192"/>
                    <a:pt x="0" y="203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97"/>
                    <a:pt x="6" y="192"/>
                    <a:pt x="12" y="192"/>
                  </a:cubicBezTo>
                  <a:cubicBezTo>
                    <a:pt x="59" y="192"/>
                    <a:pt x="59" y="192"/>
                    <a:pt x="59" y="192"/>
                  </a:cubicBezTo>
                  <a:moveTo>
                    <a:pt x="12" y="128"/>
                  </a:moveTo>
                  <a:cubicBezTo>
                    <a:pt x="11" y="128"/>
                    <a:pt x="11" y="128"/>
                    <a:pt x="11" y="128"/>
                  </a:cubicBezTo>
                  <a:cubicBezTo>
                    <a:pt x="5" y="128"/>
                    <a:pt x="0" y="133"/>
                    <a:pt x="0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33"/>
                    <a:pt x="6" y="128"/>
                    <a:pt x="12" y="128"/>
                  </a:cubicBezTo>
                  <a:moveTo>
                    <a:pt x="12" y="64"/>
                  </a:moveTo>
                  <a:cubicBezTo>
                    <a:pt x="10" y="64"/>
                    <a:pt x="10" y="64"/>
                    <a:pt x="10" y="64"/>
                  </a:cubicBezTo>
                  <a:cubicBezTo>
                    <a:pt x="10" y="64"/>
                    <a:pt x="1" y="64"/>
                    <a:pt x="0" y="75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9"/>
                    <a:pt x="6" y="64"/>
                    <a:pt x="12" y="64"/>
                  </a:cubicBezTo>
                  <a:moveTo>
                    <a:pt x="5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iṥ1íḑé"/>
            <p:cNvSpPr/>
            <p:nvPr/>
          </p:nvSpPr>
          <p:spPr bwMode="auto">
            <a:xfrm>
              <a:off x="3508375" y="4673600"/>
              <a:ext cx="204787" cy="163513"/>
            </a:xfrm>
            <a:custGeom>
              <a:avLst/>
              <a:gdLst>
                <a:gd name="T0" fmla="*/ 59 w 59"/>
                <a:gd name="T1" fmla="*/ 0 h 47"/>
                <a:gd name="T2" fmla="*/ 12 w 59"/>
                <a:gd name="T3" fmla="*/ 0 h 47"/>
                <a:gd name="T4" fmla="*/ 0 w 59"/>
                <a:gd name="T5" fmla="*/ 11 h 47"/>
                <a:gd name="T6" fmla="*/ 0 w 59"/>
                <a:gd name="T7" fmla="*/ 47 h 47"/>
                <a:gd name="T8" fmla="*/ 59 w 59"/>
                <a:gd name="T9" fmla="*/ 47 h 47"/>
                <a:gd name="T10" fmla="*/ 59 w 59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7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ï$1ïdê"/>
            <p:cNvSpPr/>
            <p:nvPr/>
          </p:nvSpPr>
          <p:spPr bwMode="auto">
            <a:xfrm>
              <a:off x="3508375" y="4837113"/>
              <a:ext cx="204787" cy="58738"/>
            </a:xfrm>
            <a:custGeom>
              <a:avLst/>
              <a:gdLst>
                <a:gd name="T0" fmla="*/ 129 w 129"/>
                <a:gd name="T1" fmla="*/ 0 h 37"/>
                <a:gd name="T2" fmla="*/ 0 w 129"/>
                <a:gd name="T3" fmla="*/ 0 h 37"/>
                <a:gd name="T4" fmla="*/ 0 w 129"/>
                <a:gd name="T5" fmla="*/ 37 h 37"/>
                <a:gd name="T6" fmla="*/ 24 w 129"/>
                <a:gd name="T7" fmla="*/ 37 h 37"/>
                <a:gd name="T8" fmla="*/ 24 w 129"/>
                <a:gd name="T9" fmla="*/ 37 h 37"/>
                <a:gd name="T10" fmla="*/ 26 w 129"/>
                <a:gd name="T11" fmla="*/ 37 h 37"/>
                <a:gd name="T12" fmla="*/ 26 w 129"/>
                <a:gd name="T13" fmla="*/ 37 h 37"/>
                <a:gd name="T14" fmla="*/ 129 w 129"/>
                <a:gd name="T15" fmla="*/ 37 h 37"/>
                <a:gd name="T16" fmla="*/ 129 w 12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7">
                  <a:moveTo>
                    <a:pt x="129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129" y="3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ïšľíḋè"/>
            <p:cNvSpPr/>
            <p:nvPr/>
          </p:nvSpPr>
          <p:spPr bwMode="auto">
            <a:xfrm>
              <a:off x="3508375" y="4837113"/>
              <a:ext cx="204787" cy="58738"/>
            </a:xfrm>
            <a:custGeom>
              <a:avLst/>
              <a:gdLst>
                <a:gd name="T0" fmla="*/ 129 w 129"/>
                <a:gd name="T1" fmla="*/ 0 h 37"/>
                <a:gd name="T2" fmla="*/ 0 w 129"/>
                <a:gd name="T3" fmla="*/ 0 h 37"/>
                <a:gd name="T4" fmla="*/ 0 w 129"/>
                <a:gd name="T5" fmla="*/ 37 h 37"/>
                <a:gd name="T6" fmla="*/ 24 w 129"/>
                <a:gd name="T7" fmla="*/ 37 h 37"/>
                <a:gd name="T8" fmla="*/ 24 w 129"/>
                <a:gd name="T9" fmla="*/ 37 h 37"/>
                <a:gd name="T10" fmla="*/ 26 w 129"/>
                <a:gd name="T11" fmla="*/ 37 h 37"/>
                <a:gd name="T12" fmla="*/ 26 w 129"/>
                <a:gd name="T13" fmla="*/ 37 h 37"/>
                <a:gd name="T14" fmla="*/ 129 w 129"/>
                <a:gd name="T15" fmla="*/ 37 h 37"/>
                <a:gd name="T16" fmla="*/ 129 w 12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7">
                  <a:moveTo>
                    <a:pt x="129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129" y="3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ïṣḷîḑé"/>
            <p:cNvSpPr/>
            <p:nvPr/>
          </p:nvSpPr>
          <p:spPr bwMode="auto">
            <a:xfrm>
              <a:off x="3508375" y="4895850"/>
              <a:ext cx="204787" cy="163513"/>
            </a:xfrm>
            <a:custGeom>
              <a:avLst/>
              <a:gdLst>
                <a:gd name="T0" fmla="*/ 59 w 59"/>
                <a:gd name="T1" fmla="*/ 0 h 47"/>
                <a:gd name="T2" fmla="*/ 12 w 59"/>
                <a:gd name="T3" fmla="*/ 0 h 47"/>
                <a:gd name="T4" fmla="*/ 12 w 59"/>
                <a:gd name="T5" fmla="*/ 0 h 47"/>
                <a:gd name="T6" fmla="*/ 0 w 59"/>
                <a:gd name="T7" fmla="*/ 11 h 47"/>
                <a:gd name="T8" fmla="*/ 0 w 59"/>
                <a:gd name="T9" fmla="*/ 38 h 47"/>
                <a:gd name="T10" fmla="*/ 0 w 59"/>
                <a:gd name="T11" fmla="*/ 47 h 47"/>
                <a:gd name="T12" fmla="*/ 59 w 59"/>
                <a:gd name="T13" fmla="*/ 47 h 47"/>
                <a:gd name="T14" fmla="*/ 59 w 59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47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íş1îḍê"/>
            <p:cNvSpPr/>
            <p:nvPr/>
          </p:nvSpPr>
          <p:spPr bwMode="auto">
            <a:xfrm>
              <a:off x="3508375" y="5059363"/>
              <a:ext cx="204787" cy="58738"/>
            </a:xfrm>
            <a:custGeom>
              <a:avLst/>
              <a:gdLst>
                <a:gd name="T0" fmla="*/ 129 w 129"/>
                <a:gd name="T1" fmla="*/ 0 h 37"/>
                <a:gd name="T2" fmla="*/ 0 w 129"/>
                <a:gd name="T3" fmla="*/ 0 h 37"/>
                <a:gd name="T4" fmla="*/ 0 w 129"/>
                <a:gd name="T5" fmla="*/ 37 h 37"/>
                <a:gd name="T6" fmla="*/ 22 w 129"/>
                <a:gd name="T7" fmla="*/ 37 h 37"/>
                <a:gd name="T8" fmla="*/ 22 w 129"/>
                <a:gd name="T9" fmla="*/ 37 h 37"/>
                <a:gd name="T10" fmla="*/ 26 w 129"/>
                <a:gd name="T11" fmla="*/ 37 h 37"/>
                <a:gd name="T12" fmla="*/ 26 w 129"/>
                <a:gd name="T13" fmla="*/ 37 h 37"/>
                <a:gd name="T14" fmla="*/ 129 w 129"/>
                <a:gd name="T15" fmla="*/ 37 h 37"/>
                <a:gd name="T16" fmla="*/ 129 w 12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7">
                  <a:moveTo>
                    <a:pt x="129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129" y="3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ṩlïḑè"/>
            <p:cNvSpPr/>
            <p:nvPr/>
          </p:nvSpPr>
          <p:spPr bwMode="auto">
            <a:xfrm>
              <a:off x="3508375" y="5059363"/>
              <a:ext cx="204787" cy="58738"/>
            </a:xfrm>
            <a:custGeom>
              <a:avLst/>
              <a:gdLst>
                <a:gd name="T0" fmla="*/ 129 w 129"/>
                <a:gd name="T1" fmla="*/ 0 h 37"/>
                <a:gd name="T2" fmla="*/ 0 w 129"/>
                <a:gd name="T3" fmla="*/ 0 h 37"/>
                <a:gd name="T4" fmla="*/ 0 w 129"/>
                <a:gd name="T5" fmla="*/ 37 h 37"/>
                <a:gd name="T6" fmla="*/ 22 w 129"/>
                <a:gd name="T7" fmla="*/ 37 h 37"/>
                <a:gd name="T8" fmla="*/ 22 w 129"/>
                <a:gd name="T9" fmla="*/ 37 h 37"/>
                <a:gd name="T10" fmla="*/ 26 w 129"/>
                <a:gd name="T11" fmla="*/ 37 h 37"/>
                <a:gd name="T12" fmla="*/ 26 w 129"/>
                <a:gd name="T13" fmla="*/ 37 h 37"/>
                <a:gd name="T14" fmla="*/ 129 w 129"/>
                <a:gd name="T15" fmla="*/ 37 h 37"/>
                <a:gd name="T16" fmla="*/ 129 w 12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7">
                  <a:moveTo>
                    <a:pt x="129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129" y="3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îṧľíḓé"/>
            <p:cNvSpPr/>
            <p:nvPr/>
          </p:nvSpPr>
          <p:spPr bwMode="auto">
            <a:xfrm>
              <a:off x="3508375" y="5118100"/>
              <a:ext cx="204787" cy="161925"/>
            </a:xfrm>
            <a:custGeom>
              <a:avLst/>
              <a:gdLst>
                <a:gd name="T0" fmla="*/ 59 w 59"/>
                <a:gd name="T1" fmla="*/ 0 h 47"/>
                <a:gd name="T2" fmla="*/ 12 w 59"/>
                <a:gd name="T3" fmla="*/ 0 h 47"/>
                <a:gd name="T4" fmla="*/ 12 w 59"/>
                <a:gd name="T5" fmla="*/ 0 h 47"/>
                <a:gd name="T6" fmla="*/ 0 w 59"/>
                <a:gd name="T7" fmla="*/ 11 h 47"/>
                <a:gd name="T8" fmla="*/ 0 w 59"/>
                <a:gd name="T9" fmla="*/ 47 h 47"/>
                <a:gd name="T10" fmla="*/ 59 w 59"/>
                <a:gd name="T11" fmla="*/ 47 h 47"/>
                <a:gd name="T12" fmla="*/ 59 w 59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47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sḷiḓe"/>
            <p:cNvSpPr/>
            <p:nvPr/>
          </p:nvSpPr>
          <p:spPr bwMode="auto">
            <a:xfrm>
              <a:off x="3508375" y="5280025"/>
              <a:ext cx="204787" cy="55563"/>
            </a:xfrm>
            <a:custGeom>
              <a:avLst/>
              <a:gdLst>
                <a:gd name="T0" fmla="*/ 129 w 129"/>
                <a:gd name="T1" fmla="*/ 0 h 35"/>
                <a:gd name="T2" fmla="*/ 0 w 129"/>
                <a:gd name="T3" fmla="*/ 0 h 35"/>
                <a:gd name="T4" fmla="*/ 0 w 129"/>
                <a:gd name="T5" fmla="*/ 35 h 35"/>
                <a:gd name="T6" fmla="*/ 24 w 129"/>
                <a:gd name="T7" fmla="*/ 35 h 35"/>
                <a:gd name="T8" fmla="*/ 24 w 129"/>
                <a:gd name="T9" fmla="*/ 35 h 35"/>
                <a:gd name="T10" fmla="*/ 26 w 129"/>
                <a:gd name="T11" fmla="*/ 35 h 35"/>
                <a:gd name="T12" fmla="*/ 26 w 129"/>
                <a:gd name="T13" fmla="*/ 35 h 35"/>
                <a:gd name="T14" fmla="*/ 129 w 129"/>
                <a:gd name="T15" fmla="*/ 35 h 35"/>
                <a:gd name="T16" fmla="*/ 129 w 129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5">
                  <a:moveTo>
                    <a:pt x="129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129" y="35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ï$ḻiḓé"/>
            <p:cNvSpPr/>
            <p:nvPr/>
          </p:nvSpPr>
          <p:spPr bwMode="auto">
            <a:xfrm>
              <a:off x="3508375" y="5280025"/>
              <a:ext cx="204787" cy="55563"/>
            </a:xfrm>
            <a:custGeom>
              <a:avLst/>
              <a:gdLst>
                <a:gd name="T0" fmla="*/ 129 w 129"/>
                <a:gd name="T1" fmla="*/ 0 h 35"/>
                <a:gd name="T2" fmla="*/ 0 w 129"/>
                <a:gd name="T3" fmla="*/ 0 h 35"/>
                <a:gd name="T4" fmla="*/ 0 w 129"/>
                <a:gd name="T5" fmla="*/ 35 h 35"/>
                <a:gd name="T6" fmla="*/ 24 w 129"/>
                <a:gd name="T7" fmla="*/ 35 h 35"/>
                <a:gd name="T8" fmla="*/ 24 w 129"/>
                <a:gd name="T9" fmla="*/ 35 h 35"/>
                <a:gd name="T10" fmla="*/ 26 w 129"/>
                <a:gd name="T11" fmla="*/ 35 h 35"/>
                <a:gd name="T12" fmla="*/ 26 w 129"/>
                <a:gd name="T13" fmla="*/ 35 h 35"/>
                <a:gd name="T14" fmla="*/ 129 w 129"/>
                <a:gd name="T15" fmla="*/ 35 h 35"/>
                <a:gd name="T16" fmla="*/ 129 w 129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5">
                  <a:moveTo>
                    <a:pt x="129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129" y="35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iṥḻídé"/>
            <p:cNvSpPr/>
            <p:nvPr/>
          </p:nvSpPr>
          <p:spPr bwMode="auto">
            <a:xfrm>
              <a:off x="3508375" y="5335588"/>
              <a:ext cx="204787" cy="166688"/>
            </a:xfrm>
            <a:custGeom>
              <a:avLst/>
              <a:gdLst>
                <a:gd name="T0" fmla="*/ 59 w 59"/>
                <a:gd name="T1" fmla="*/ 0 h 48"/>
                <a:gd name="T2" fmla="*/ 12 w 59"/>
                <a:gd name="T3" fmla="*/ 0 h 48"/>
                <a:gd name="T4" fmla="*/ 12 w 59"/>
                <a:gd name="T5" fmla="*/ 0 h 48"/>
                <a:gd name="T6" fmla="*/ 0 w 59"/>
                <a:gd name="T7" fmla="*/ 12 h 48"/>
                <a:gd name="T8" fmla="*/ 0 w 59"/>
                <a:gd name="T9" fmla="*/ 48 h 48"/>
                <a:gd name="T10" fmla="*/ 59 w 59"/>
                <a:gd name="T11" fmla="*/ 48 h 48"/>
                <a:gd name="T12" fmla="*/ 59 w 59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48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śḷidé"/>
            <p:cNvSpPr/>
            <p:nvPr/>
          </p:nvSpPr>
          <p:spPr bwMode="auto">
            <a:xfrm>
              <a:off x="3508375" y="5502275"/>
              <a:ext cx="204787" cy="55563"/>
            </a:xfrm>
            <a:prstGeom prst="rect">
              <a:avLst/>
            </a:pr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sliḓè"/>
            <p:cNvSpPr/>
            <p:nvPr/>
          </p:nvSpPr>
          <p:spPr bwMode="auto">
            <a:xfrm>
              <a:off x="3508375" y="5502275"/>
              <a:ext cx="204787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iṡḻiḓé"/>
            <p:cNvSpPr/>
            <p:nvPr/>
          </p:nvSpPr>
          <p:spPr bwMode="auto">
            <a:xfrm>
              <a:off x="3508375" y="4010025"/>
              <a:ext cx="204787" cy="165100"/>
            </a:xfrm>
            <a:custGeom>
              <a:avLst/>
              <a:gdLst>
                <a:gd name="T0" fmla="*/ 59 w 59"/>
                <a:gd name="T1" fmla="*/ 0 h 48"/>
                <a:gd name="T2" fmla="*/ 12 w 59"/>
                <a:gd name="T3" fmla="*/ 0 h 48"/>
                <a:gd name="T4" fmla="*/ 0 w 59"/>
                <a:gd name="T5" fmla="*/ 12 h 48"/>
                <a:gd name="T6" fmla="*/ 0 w 59"/>
                <a:gd name="T7" fmla="*/ 38 h 48"/>
                <a:gd name="T8" fmla="*/ 0 w 59"/>
                <a:gd name="T9" fmla="*/ 48 h 48"/>
                <a:gd name="T10" fmla="*/ 59 w 59"/>
                <a:gd name="T11" fmla="*/ 48 h 48"/>
                <a:gd name="T12" fmla="*/ 59 w 59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48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ïslïḓe"/>
            <p:cNvSpPr/>
            <p:nvPr/>
          </p:nvSpPr>
          <p:spPr bwMode="auto">
            <a:xfrm>
              <a:off x="3508375" y="4175125"/>
              <a:ext cx="204787" cy="55563"/>
            </a:xfrm>
            <a:custGeom>
              <a:avLst/>
              <a:gdLst>
                <a:gd name="T0" fmla="*/ 129 w 129"/>
                <a:gd name="T1" fmla="*/ 0 h 35"/>
                <a:gd name="T2" fmla="*/ 0 w 129"/>
                <a:gd name="T3" fmla="*/ 0 h 35"/>
                <a:gd name="T4" fmla="*/ 0 w 129"/>
                <a:gd name="T5" fmla="*/ 35 h 35"/>
                <a:gd name="T6" fmla="*/ 22 w 129"/>
                <a:gd name="T7" fmla="*/ 35 h 35"/>
                <a:gd name="T8" fmla="*/ 22 w 129"/>
                <a:gd name="T9" fmla="*/ 35 h 35"/>
                <a:gd name="T10" fmla="*/ 26 w 129"/>
                <a:gd name="T11" fmla="*/ 35 h 35"/>
                <a:gd name="T12" fmla="*/ 26 w 129"/>
                <a:gd name="T13" fmla="*/ 35 h 35"/>
                <a:gd name="T14" fmla="*/ 129 w 129"/>
                <a:gd name="T15" fmla="*/ 35 h 35"/>
                <a:gd name="T16" fmla="*/ 129 w 129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5">
                  <a:moveTo>
                    <a:pt x="129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129" y="35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ïŝḷîḓe"/>
            <p:cNvSpPr/>
            <p:nvPr/>
          </p:nvSpPr>
          <p:spPr bwMode="auto">
            <a:xfrm>
              <a:off x="3508375" y="4175125"/>
              <a:ext cx="204787" cy="55563"/>
            </a:xfrm>
            <a:custGeom>
              <a:avLst/>
              <a:gdLst>
                <a:gd name="T0" fmla="*/ 129 w 129"/>
                <a:gd name="T1" fmla="*/ 0 h 35"/>
                <a:gd name="T2" fmla="*/ 0 w 129"/>
                <a:gd name="T3" fmla="*/ 0 h 35"/>
                <a:gd name="T4" fmla="*/ 0 w 129"/>
                <a:gd name="T5" fmla="*/ 35 h 35"/>
                <a:gd name="T6" fmla="*/ 22 w 129"/>
                <a:gd name="T7" fmla="*/ 35 h 35"/>
                <a:gd name="T8" fmla="*/ 22 w 129"/>
                <a:gd name="T9" fmla="*/ 35 h 35"/>
                <a:gd name="T10" fmla="*/ 26 w 129"/>
                <a:gd name="T11" fmla="*/ 35 h 35"/>
                <a:gd name="T12" fmla="*/ 26 w 129"/>
                <a:gd name="T13" fmla="*/ 35 h 35"/>
                <a:gd name="T14" fmla="*/ 129 w 129"/>
                <a:gd name="T15" fmla="*/ 35 h 35"/>
                <a:gd name="T16" fmla="*/ 129 w 129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5">
                  <a:moveTo>
                    <a:pt x="129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129" y="35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íśḷîďè"/>
            <p:cNvSpPr/>
            <p:nvPr/>
          </p:nvSpPr>
          <p:spPr bwMode="auto">
            <a:xfrm>
              <a:off x="3508375" y="4230688"/>
              <a:ext cx="204787" cy="163513"/>
            </a:xfrm>
            <a:custGeom>
              <a:avLst/>
              <a:gdLst>
                <a:gd name="T0" fmla="*/ 59 w 59"/>
                <a:gd name="T1" fmla="*/ 0 h 47"/>
                <a:gd name="T2" fmla="*/ 12 w 59"/>
                <a:gd name="T3" fmla="*/ 0 h 47"/>
                <a:gd name="T4" fmla="*/ 12 w 59"/>
                <a:gd name="T5" fmla="*/ 0 h 47"/>
                <a:gd name="T6" fmla="*/ 0 w 59"/>
                <a:gd name="T7" fmla="*/ 12 h 47"/>
                <a:gd name="T8" fmla="*/ 0 w 59"/>
                <a:gd name="T9" fmla="*/ 47 h 47"/>
                <a:gd name="T10" fmla="*/ 59 w 59"/>
                <a:gd name="T11" fmla="*/ 47 h 47"/>
                <a:gd name="T12" fmla="*/ 59 w 59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47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îŝ1iḓé"/>
            <p:cNvSpPr/>
            <p:nvPr/>
          </p:nvSpPr>
          <p:spPr bwMode="auto">
            <a:xfrm>
              <a:off x="3508375" y="4394200"/>
              <a:ext cx="204787" cy="58738"/>
            </a:xfrm>
            <a:custGeom>
              <a:avLst/>
              <a:gdLst>
                <a:gd name="T0" fmla="*/ 129 w 129"/>
                <a:gd name="T1" fmla="*/ 0 h 37"/>
                <a:gd name="T2" fmla="*/ 0 w 129"/>
                <a:gd name="T3" fmla="*/ 0 h 37"/>
                <a:gd name="T4" fmla="*/ 0 w 129"/>
                <a:gd name="T5" fmla="*/ 37 h 37"/>
                <a:gd name="T6" fmla="*/ 24 w 129"/>
                <a:gd name="T7" fmla="*/ 37 h 37"/>
                <a:gd name="T8" fmla="*/ 24 w 129"/>
                <a:gd name="T9" fmla="*/ 37 h 37"/>
                <a:gd name="T10" fmla="*/ 26 w 129"/>
                <a:gd name="T11" fmla="*/ 37 h 37"/>
                <a:gd name="T12" fmla="*/ 26 w 129"/>
                <a:gd name="T13" fmla="*/ 37 h 37"/>
                <a:gd name="T14" fmla="*/ 129 w 129"/>
                <a:gd name="T15" fmla="*/ 37 h 37"/>
                <a:gd name="T16" fmla="*/ 129 w 12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7">
                  <a:moveTo>
                    <a:pt x="129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129" y="3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ïṧľîdè"/>
            <p:cNvSpPr/>
            <p:nvPr/>
          </p:nvSpPr>
          <p:spPr bwMode="auto">
            <a:xfrm>
              <a:off x="3508375" y="4394200"/>
              <a:ext cx="204787" cy="58738"/>
            </a:xfrm>
            <a:custGeom>
              <a:avLst/>
              <a:gdLst>
                <a:gd name="T0" fmla="*/ 129 w 129"/>
                <a:gd name="T1" fmla="*/ 0 h 37"/>
                <a:gd name="T2" fmla="*/ 0 w 129"/>
                <a:gd name="T3" fmla="*/ 0 h 37"/>
                <a:gd name="T4" fmla="*/ 0 w 129"/>
                <a:gd name="T5" fmla="*/ 37 h 37"/>
                <a:gd name="T6" fmla="*/ 24 w 129"/>
                <a:gd name="T7" fmla="*/ 37 h 37"/>
                <a:gd name="T8" fmla="*/ 24 w 129"/>
                <a:gd name="T9" fmla="*/ 37 h 37"/>
                <a:gd name="T10" fmla="*/ 26 w 129"/>
                <a:gd name="T11" fmla="*/ 37 h 37"/>
                <a:gd name="T12" fmla="*/ 26 w 129"/>
                <a:gd name="T13" fmla="*/ 37 h 37"/>
                <a:gd name="T14" fmla="*/ 129 w 129"/>
                <a:gd name="T15" fmla="*/ 37 h 37"/>
                <a:gd name="T16" fmla="*/ 129 w 12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37">
                  <a:moveTo>
                    <a:pt x="129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129" y="3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ïšḷíḑe"/>
            <p:cNvSpPr/>
            <p:nvPr/>
          </p:nvSpPr>
          <p:spPr bwMode="auto">
            <a:xfrm>
              <a:off x="3508375" y="4452938"/>
              <a:ext cx="204787" cy="161925"/>
            </a:xfrm>
            <a:custGeom>
              <a:avLst/>
              <a:gdLst>
                <a:gd name="T0" fmla="*/ 59 w 59"/>
                <a:gd name="T1" fmla="*/ 0 h 47"/>
                <a:gd name="T2" fmla="*/ 12 w 59"/>
                <a:gd name="T3" fmla="*/ 0 h 47"/>
                <a:gd name="T4" fmla="*/ 12 w 59"/>
                <a:gd name="T5" fmla="*/ 0 h 47"/>
                <a:gd name="T6" fmla="*/ 0 w 59"/>
                <a:gd name="T7" fmla="*/ 11 h 47"/>
                <a:gd name="T8" fmla="*/ 0 w 59"/>
                <a:gd name="T9" fmla="*/ 38 h 47"/>
                <a:gd name="T10" fmla="*/ 0 w 59"/>
                <a:gd name="T11" fmla="*/ 47 h 47"/>
                <a:gd name="T12" fmla="*/ 59 w 59"/>
                <a:gd name="T13" fmla="*/ 47 h 47"/>
                <a:gd name="T14" fmla="*/ 59 w 59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47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íŝļîḋè"/>
            <p:cNvSpPr/>
            <p:nvPr/>
          </p:nvSpPr>
          <p:spPr bwMode="auto">
            <a:xfrm>
              <a:off x="3508375" y="4614863"/>
              <a:ext cx="204787" cy="58738"/>
            </a:xfrm>
            <a:custGeom>
              <a:avLst/>
              <a:gdLst>
                <a:gd name="T0" fmla="*/ 129 w 129"/>
                <a:gd name="T1" fmla="*/ 0 h 37"/>
                <a:gd name="T2" fmla="*/ 0 w 129"/>
                <a:gd name="T3" fmla="*/ 0 h 37"/>
                <a:gd name="T4" fmla="*/ 0 w 129"/>
                <a:gd name="T5" fmla="*/ 37 h 37"/>
                <a:gd name="T6" fmla="*/ 22 w 129"/>
                <a:gd name="T7" fmla="*/ 37 h 37"/>
                <a:gd name="T8" fmla="*/ 22 w 129"/>
                <a:gd name="T9" fmla="*/ 37 h 37"/>
                <a:gd name="T10" fmla="*/ 129 w 129"/>
                <a:gd name="T11" fmla="*/ 37 h 37"/>
                <a:gd name="T12" fmla="*/ 129 w 129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37">
                  <a:moveTo>
                    <a:pt x="129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129" y="3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ïṧliḓè"/>
            <p:cNvSpPr/>
            <p:nvPr/>
          </p:nvSpPr>
          <p:spPr bwMode="auto">
            <a:xfrm>
              <a:off x="3508375" y="4614863"/>
              <a:ext cx="204787" cy="58738"/>
            </a:xfrm>
            <a:custGeom>
              <a:avLst/>
              <a:gdLst>
                <a:gd name="T0" fmla="*/ 129 w 129"/>
                <a:gd name="T1" fmla="*/ 0 h 37"/>
                <a:gd name="T2" fmla="*/ 0 w 129"/>
                <a:gd name="T3" fmla="*/ 0 h 37"/>
                <a:gd name="T4" fmla="*/ 0 w 129"/>
                <a:gd name="T5" fmla="*/ 37 h 37"/>
                <a:gd name="T6" fmla="*/ 22 w 129"/>
                <a:gd name="T7" fmla="*/ 37 h 37"/>
                <a:gd name="T8" fmla="*/ 22 w 129"/>
                <a:gd name="T9" fmla="*/ 37 h 37"/>
                <a:gd name="T10" fmla="*/ 129 w 129"/>
                <a:gd name="T11" fmla="*/ 37 h 37"/>
                <a:gd name="T12" fmla="*/ 129 w 129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37">
                  <a:moveTo>
                    <a:pt x="129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129" y="3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ïśļíḑe"/>
            <p:cNvSpPr/>
            <p:nvPr/>
          </p:nvSpPr>
          <p:spPr bwMode="auto">
            <a:xfrm>
              <a:off x="4745038" y="4673600"/>
              <a:ext cx="200025" cy="835025"/>
            </a:xfrm>
            <a:custGeom>
              <a:avLst/>
              <a:gdLst>
                <a:gd name="T0" fmla="*/ 12 w 58"/>
                <a:gd name="T1" fmla="*/ 191 h 241"/>
                <a:gd name="T2" fmla="*/ 10 w 58"/>
                <a:gd name="T3" fmla="*/ 191 h 241"/>
                <a:gd name="T4" fmla="*/ 0 w 58"/>
                <a:gd name="T5" fmla="*/ 202 h 241"/>
                <a:gd name="T6" fmla="*/ 0 w 58"/>
                <a:gd name="T7" fmla="*/ 241 h 241"/>
                <a:gd name="T8" fmla="*/ 1 w 58"/>
                <a:gd name="T9" fmla="*/ 240 h 241"/>
                <a:gd name="T10" fmla="*/ 1 w 58"/>
                <a:gd name="T11" fmla="*/ 239 h 241"/>
                <a:gd name="T12" fmla="*/ 1 w 58"/>
                <a:gd name="T13" fmla="*/ 203 h 241"/>
                <a:gd name="T14" fmla="*/ 12 w 58"/>
                <a:gd name="T15" fmla="*/ 191 h 241"/>
                <a:gd name="T16" fmla="*/ 12 w 58"/>
                <a:gd name="T17" fmla="*/ 128 h 241"/>
                <a:gd name="T18" fmla="*/ 11 w 58"/>
                <a:gd name="T19" fmla="*/ 128 h 241"/>
                <a:gd name="T20" fmla="*/ 0 w 58"/>
                <a:gd name="T21" fmla="*/ 138 h 241"/>
                <a:gd name="T22" fmla="*/ 0 w 58"/>
                <a:gd name="T23" fmla="*/ 191 h 241"/>
                <a:gd name="T24" fmla="*/ 1 w 58"/>
                <a:gd name="T25" fmla="*/ 191 h 241"/>
                <a:gd name="T26" fmla="*/ 1 w 58"/>
                <a:gd name="T27" fmla="*/ 175 h 241"/>
                <a:gd name="T28" fmla="*/ 1 w 58"/>
                <a:gd name="T29" fmla="*/ 139 h 241"/>
                <a:gd name="T30" fmla="*/ 12 w 58"/>
                <a:gd name="T31" fmla="*/ 128 h 241"/>
                <a:gd name="T32" fmla="*/ 12 w 58"/>
                <a:gd name="T33" fmla="*/ 64 h 241"/>
                <a:gd name="T34" fmla="*/ 10 w 58"/>
                <a:gd name="T35" fmla="*/ 64 h 241"/>
                <a:gd name="T36" fmla="*/ 0 w 58"/>
                <a:gd name="T37" fmla="*/ 74 h 241"/>
                <a:gd name="T38" fmla="*/ 0 w 58"/>
                <a:gd name="T39" fmla="*/ 128 h 241"/>
                <a:gd name="T40" fmla="*/ 1 w 58"/>
                <a:gd name="T41" fmla="*/ 128 h 241"/>
                <a:gd name="T42" fmla="*/ 1 w 58"/>
                <a:gd name="T43" fmla="*/ 111 h 241"/>
                <a:gd name="T44" fmla="*/ 1 w 58"/>
                <a:gd name="T45" fmla="*/ 75 h 241"/>
                <a:gd name="T46" fmla="*/ 12 w 58"/>
                <a:gd name="T47" fmla="*/ 64 h 241"/>
                <a:gd name="T48" fmla="*/ 58 w 58"/>
                <a:gd name="T49" fmla="*/ 0 h 241"/>
                <a:gd name="T50" fmla="*/ 11 w 58"/>
                <a:gd name="T51" fmla="*/ 0 h 241"/>
                <a:gd name="T52" fmla="*/ 0 w 58"/>
                <a:gd name="T53" fmla="*/ 11 h 241"/>
                <a:gd name="T54" fmla="*/ 0 w 58"/>
                <a:gd name="T55" fmla="*/ 64 h 241"/>
                <a:gd name="T56" fmla="*/ 1 w 58"/>
                <a:gd name="T57" fmla="*/ 64 h 241"/>
                <a:gd name="T58" fmla="*/ 1 w 58"/>
                <a:gd name="T59" fmla="*/ 47 h 241"/>
                <a:gd name="T60" fmla="*/ 1 w 58"/>
                <a:gd name="T61" fmla="*/ 11 h 241"/>
                <a:gd name="T62" fmla="*/ 12 w 58"/>
                <a:gd name="T63" fmla="*/ 0 h 241"/>
                <a:gd name="T64" fmla="*/ 58 w 58"/>
                <a:gd name="T65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" h="241">
                  <a:moveTo>
                    <a:pt x="12" y="191"/>
                  </a:moveTo>
                  <a:cubicBezTo>
                    <a:pt x="10" y="191"/>
                    <a:pt x="10" y="191"/>
                    <a:pt x="10" y="191"/>
                  </a:cubicBezTo>
                  <a:cubicBezTo>
                    <a:pt x="10" y="191"/>
                    <a:pt x="1" y="191"/>
                    <a:pt x="0" y="202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41"/>
                    <a:pt x="0" y="241"/>
                    <a:pt x="1" y="240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1" y="203"/>
                    <a:pt x="1" y="203"/>
                    <a:pt x="1" y="203"/>
                  </a:cubicBezTo>
                  <a:cubicBezTo>
                    <a:pt x="1" y="197"/>
                    <a:pt x="6" y="191"/>
                    <a:pt x="12" y="191"/>
                  </a:cubicBezTo>
                  <a:moveTo>
                    <a:pt x="12" y="128"/>
                  </a:moveTo>
                  <a:cubicBezTo>
                    <a:pt x="11" y="128"/>
                    <a:pt x="11" y="128"/>
                    <a:pt x="11" y="128"/>
                  </a:cubicBezTo>
                  <a:cubicBezTo>
                    <a:pt x="5" y="128"/>
                    <a:pt x="0" y="132"/>
                    <a:pt x="0" y="138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1" y="191"/>
                    <a:pt x="1" y="191"/>
                    <a:pt x="1" y="191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1" y="133"/>
                    <a:pt x="6" y="128"/>
                    <a:pt x="12" y="128"/>
                  </a:cubicBezTo>
                  <a:moveTo>
                    <a:pt x="12" y="64"/>
                  </a:moveTo>
                  <a:cubicBezTo>
                    <a:pt x="10" y="64"/>
                    <a:pt x="10" y="64"/>
                    <a:pt x="10" y="64"/>
                  </a:cubicBezTo>
                  <a:cubicBezTo>
                    <a:pt x="10" y="64"/>
                    <a:pt x="1" y="64"/>
                    <a:pt x="0" y="74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" y="128"/>
                    <a:pt x="1" y="128"/>
                    <a:pt x="1" y="128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75"/>
                    <a:pt x="1" y="75"/>
                    <a:pt x="1" y="75"/>
                  </a:cubicBezTo>
                  <a:cubicBezTo>
                    <a:pt x="1" y="69"/>
                    <a:pt x="6" y="64"/>
                    <a:pt x="12" y="64"/>
                  </a:cubicBezTo>
                  <a:moveTo>
                    <a:pt x="58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5"/>
                    <a:pt x="6" y="0"/>
                    <a:pt x="12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íšľîďê"/>
            <p:cNvSpPr/>
            <p:nvPr/>
          </p:nvSpPr>
          <p:spPr bwMode="auto">
            <a:xfrm>
              <a:off x="4745038" y="5505450"/>
              <a:ext cx="3175" cy="52388"/>
            </a:xfrm>
            <a:custGeom>
              <a:avLst/>
              <a:gdLst>
                <a:gd name="T0" fmla="*/ 1 w 1"/>
                <a:gd name="T1" fmla="*/ 0 h 15"/>
                <a:gd name="T2" fmla="*/ 0 w 1"/>
                <a:gd name="T3" fmla="*/ 1 h 15"/>
                <a:gd name="T4" fmla="*/ 0 w 1"/>
                <a:gd name="T5" fmla="*/ 15 h 15"/>
                <a:gd name="T6" fmla="*/ 1 w 1"/>
                <a:gd name="T7" fmla="*/ 15 h 15"/>
                <a:gd name="T8" fmla="*/ 1 w 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5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C9C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ïṩḷíďê"/>
            <p:cNvSpPr/>
            <p:nvPr/>
          </p:nvSpPr>
          <p:spPr bwMode="auto">
            <a:xfrm>
              <a:off x="4748213" y="4673600"/>
              <a:ext cx="196850" cy="163513"/>
            </a:xfrm>
            <a:custGeom>
              <a:avLst/>
              <a:gdLst>
                <a:gd name="T0" fmla="*/ 57 w 57"/>
                <a:gd name="T1" fmla="*/ 0 h 47"/>
                <a:gd name="T2" fmla="*/ 11 w 57"/>
                <a:gd name="T3" fmla="*/ 0 h 47"/>
                <a:gd name="T4" fmla="*/ 0 w 57"/>
                <a:gd name="T5" fmla="*/ 11 h 47"/>
                <a:gd name="T6" fmla="*/ 0 w 57"/>
                <a:gd name="T7" fmla="*/ 47 h 47"/>
                <a:gd name="T8" fmla="*/ 57 w 57"/>
                <a:gd name="T9" fmla="*/ 47 h 47"/>
                <a:gd name="T10" fmla="*/ 57 w 57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47">
                  <a:moveTo>
                    <a:pt x="5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íşḷîḍe"/>
            <p:cNvSpPr/>
            <p:nvPr/>
          </p:nvSpPr>
          <p:spPr bwMode="auto">
            <a:xfrm>
              <a:off x="4748213" y="4837113"/>
              <a:ext cx="196850" cy="58738"/>
            </a:xfrm>
            <a:custGeom>
              <a:avLst/>
              <a:gdLst>
                <a:gd name="T0" fmla="*/ 124 w 124"/>
                <a:gd name="T1" fmla="*/ 0 h 37"/>
                <a:gd name="T2" fmla="*/ 0 w 124"/>
                <a:gd name="T3" fmla="*/ 0 h 37"/>
                <a:gd name="T4" fmla="*/ 0 w 124"/>
                <a:gd name="T5" fmla="*/ 37 h 37"/>
                <a:gd name="T6" fmla="*/ 20 w 124"/>
                <a:gd name="T7" fmla="*/ 37 h 37"/>
                <a:gd name="T8" fmla="*/ 20 w 124"/>
                <a:gd name="T9" fmla="*/ 37 h 37"/>
                <a:gd name="T10" fmla="*/ 24 w 124"/>
                <a:gd name="T11" fmla="*/ 37 h 37"/>
                <a:gd name="T12" fmla="*/ 24 w 124"/>
                <a:gd name="T13" fmla="*/ 37 h 37"/>
                <a:gd name="T14" fmla="*/ 124 w 124"/>
                <a:gd name="T15" fmla="*/ 37 h 37"/>
                <a:gd name="T16" fmla="*/ 124 w 124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37">
                  <a:moveTo>
                    <a:pt x="124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124" y="37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ïsļîdê"/>
            <p:cNvSpPr/>
            <p:nvPr/>
          </p:nvSpPr>
          <p:spPr bwMode="auto">
            <a:xfrm>
              <a:off x="4748213" y="4837113"/>
              <a:ext cx="196850" cy="58738"/>
            </a:xfrm>
            <a:custGeom>
              <a:avLst/>
              <a:gdLst>
                <a:gd name="T0" fmla="*/ 124 w 124"/>
                <a:gd name="T1" fmla="*/ 0 h 37"/>
                <a:gd name="T2" fmla="*/ 0 w 124"/>
                <a:gd name="T3" fmla="*/ 0 h 37"/>
                <a:gd name="T4" fmla="*/ 0 w 124"/>
                <a:gd name="T5" fmla="*/ 37 h 37"/>
                <a:gd name="T6" fmla="*/ 20 w 124"/>
                <a:gd name="T7" fmla="*/ 37 h 37"/>
                <a:gd name="T8" fmla="*/ 20 w 124"/>
                <a:gd name="T9" fmla="*/ 37 h 37"/>
                <a:gd name="T10" fmla="*/ 24 w 124"/>
                <a:gd name="T11" fmla="*/ 37 h 37"/>
                <a:gd name="T12" fmla="*/ 24 w 124"/>
                <a:gd name="T13" fmla="*/ 37 h 37"/>
                <a:gd name="T14" fmla="*/ 124 w 124"/>
                <a:gd name="T15" fmla="*/ 37 h 37"/>
                <a:gd name="T16" fmla="*/ 124 w 124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37">
                  <a:moveTo>
                    <a:pt x="124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124" y="37"/>
                  </a:lnTo>
                  <a:lnTo>
                    <a:pt x="1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íš1ïḓé"/>
            <p:cNvSpPr/>
            <p:nvPr/>
          </p:nvSpPr>
          <p:spPr bwMode="auto">
            <a:xfrm>
              <a:off x="4748213" y="4895850"/>
              <a:ext cx="196850" cy="163513"/>
            </a:xfrm>
            <a:custGeom>
              <a:avLst/>
              <a:gdLst>
                <a:gd name="T0" fmla="*/ 57 w 57"/>
                <a:gd name="T1" fmla="*/ 0 h 47"/>
                <a:gd name="T2" fmla="*/ 11 w 57"/>
                <a:gd name="T3" fmla="*/ 0 h 47"/>
                <a:gd name="T4" fmla="*/ 11 w 57"/>
                <a:gd name="T5" fmla="*/ 0 h 47"/>
                <a:gd name="T6" fmla="*/ 0 w 57"/>
                <a:gd name="T7" fmla="*/ 11 h 47"/>
                <a:gd name="T8" fmla="*/ 0 w 57"/>
                <a:gd name="T9" fmla="*/ 47 h 47"/>
                <a:gd name="T10" fmla="*/ 57 w 57"/>
                <a:gd name="T11" fmla="*/ 47 h 47"/>
                <a:gd name="T12" fmla="*/ 57 w 57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47">
                  <a:moveTo>
                    <a:pt x="5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ïślïďé"/>
            <p:cNvSpPr/>
            <p:nvPr/>
          </p:nvSpPr>
          <p:spPr bwMode="auto">
            <a:xfrm>
              <a:off x="4748213" y="5059363"/>
              <a:ext cx="196850" cy="58738"/>
            </a:xfrm>
            <a:custGeom>
              <a:avLst/>
              <a:gdLst>
                <a:gd name="T0" fmla="*/ 124 w 124"/>
                <a:gd name="T1" fmla="*/ 0 h 37"/>
                <a:gd name="T2" fmla="*/ 0 w 124"/>
                <a:gd name="T3" fmla="*/ 0 h 37"/>
                <a:gd name="T4" fmla="*/ 0 w 124"/>
                <a:gd name="T5" fmla="*/ 37 h 37"/>
                <a:gd name="T6" fmla="*/ 22 w 124"/>
                <a:gd name="T7" fmla="*/ 37 h 37"/>
                <a:gd name="T8" fmla="*/ 22 w 124"/>
                <a:gd name="T9" fmla="*/ 37 h 37"/>
                <a:gd name="T10" fmla="*/ 24 w 124"/>
                <a:gd name="T11" fmla="*/ 37 h 37"/>
                <a:gd name="T12" fmla="*/ 24 w 124"/>
                <a:gd name="T13" fmla="*/ 37 h 37"/>
                <a:gd name="T14" fmla="*/ 124 w 124"/>
                <a:gd name="T15" fmla="*/ 37 h 37"/>
                <a:gd name="T16" fmla="*/ 124 w 124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37">
                  <a:moveTo>
                    <a:pt x="124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124" y="37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îṧḷîḓê"/>
            <p:cNvSpPr/>
            <p:nvPr/>
          </p:nvSpPr>
          <p:spPr bwMode="auto">
            <a:xfrm>
              <a:off x="4748213" y="5059363"/>
              <a:ext cx="196850" cy="58738"/>
            </a:xfrm>
            <a:custGeom>
              <a:avLst/>
              <a:gdLst>
                <a:gd name="T0" fmla="*/ 124 w 124"/>
                <a:gd name="T1" fmla="*/ 0 h 37"/>
                <a:gd name="T2" fmla="*/ 0 w 124"/>
                <a:gd name="T3" fmla="*/ 0 h 37"/>
                <a:gd name="T4" fmla="*/ 0 w 124"/>
                <a:gd name="T5" fmla="*/ 37 h 37"/>
                <a:gd name="T6" fmla="*/ 22 w 124"/>
                <a:gd name="T7" fmla="*/ 37 h 37"/>
                <a:gd name="T8" fmla="*/ 22 w 124"/>
                <a:gd name="T9" fmla="*/ 37 h 37"/>
                <a:gd name="T10" fmla="*/ 24 w 124"/>
                <a:gd name="T11" fmla="*/ 37 h 37"/>
                <a:gd name="T12" fmla="*/ 24 w 124"/>
                <a:gd name="T13" fmla="*/ 37 h 37"/>
                <a:gd name="T14" fmla="*/ 124 w 124"/>
                <a:gd name="T15" fmla="*/ 37 h 37"/>
                <a:gd name="T16" fmla="*/ 124 w 124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37">
                  <a:moveTo>
                    <a:pt x="124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124" y="37"/>
                  </a:lnTo>
                  <a:lnTo>
                    <a:pt x="1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îṥḻíḓê"/>
            <p:cNvSpPr/>
            <p:nvPr/>
          </p:nvSpPr>
          <p:spPr bwMode="auto">
            <a:xfrm>
              <a:off x="4748213" y="5118100"/>
              <a:ext cx="196850" cy="161925"/>
            </a:xfrm>
            <a:custGeom>
              <a:avLst/>
              <a:gdLst>
                <a:gd name="T0" fmla="*/ 57 w 57"/>
                <a:gd name="T1" fmla="*/ 0 h 47"/>
                <a:gd name="T2" fmla="*/ 11 w 57"/>
                <a:gd name="T3" fmla="*/ 0 h 47"/>
                <a:gd name="T4" fmla="*/ 11 w 57"/>
                <a:gd name="T5" fmla="*/ 0 h 47"/>
                <a:gd name="T6" fmla="*/ 0 w 57"/>
                <a:gd name="T7" fmla="*/ 11 h 47"/>
                <a:gd name="T8" fmla="*/ 0 w 57"/>
                <a:gd name="T9" fmla="*/ 47 h 47"/>
                <a:gd name="T10" fmla="*/ 57 w 57"/>
                <a:gd name="T11" fmla="*/ 47 h 47"/>
                <a:gd name="T12" fmla="*/ 57 w 57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47">
                  <a:moveTo>
                    <a:pt x="5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ïsḻíḑè"/>
            <p:cNvSpPr/>
            <p:nvPr/>
          </p:nvSpPr>
          <p:spPr bwMode="auto">
            <a:xfrm>
              <a:off x="4748213" y="5280025"/>
              <a:ext cx="196850" cy="55563"/>
            </a:xfrm>
            <a:custGeom>
              <a:avLst/>
              <a:gdLst>
                <a:gd name="T0" fmla="*/ 124 w 124"/>
                <a:gd name="T1" fmla="*/ 0 h 35"/>
                <a:gd name="T2" fmla="*/ 0 w 124"/>
                <a:gd name="T3" fmla="*/ 0 h 35"/>
                <a:gd name="T4" fmla="*/ 0 w 124"/>
                <a:gd name="T5" fmla="*/ 35 h 35"/>
                <a:gd name="T6" fmla="*/ 20 w 124"/>
                <a:gd name="T7" fmla="*/ 35 h 35"/>
                <a:gd name="T8" fmla="*/ 20 w 124"/>
                <a:gd name="T9" fmla="*/ 35 h 35"/>
                <a:gd name="T10" fmla="*/ 24 w 124"/>
                <a:gd name="T11" fmla="*/ 35 h 35"/>
                <a:gd name="T12" fmla="*/ 24 w 124"/>
                <a:gd name="T13" fmla="*/ 35 h 35"/>
                <a:gd name="T14" fmla="*/ 124 w 124"/>
                <a:gd name="T15" fmla="*/ 35 h 35"/>
                <a:gd name="T16" fmla="*/ 124 w 124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35">
                  <a:moveTo>
                    <a:pt x="124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124" y="35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íṧḷîḋe"/>
            <p:cNvSpPr/>
            <p:nvPr/>
          </p:nvSpPr>
          <p:spPr bwMode="auto">
            <a:xfrm>
              <a:off x="4748213" y="5280025"/>
              <a:ext cx="196850" cy="55563"/>
            </a:xfrm>
            <a:custGeom>
              <a:avLst/>
              <a:gdLst>
                <a:gd name="T0" fmla="*/ 124 w 124"/>
                <a:gd name="T1" fmla="*/ 0 h 35"/>
                <a:gd name="T2" fmla="*/ 0 w 124"/>
                <a:gd name="T3" fmla="*/ 0 h 35"/>
                <a:gd name="T4" fmla="*/ 0 w 124"/>
                <a:gd name="T5" fmla="*/ 35 h 35"/>
                <a:gd name="T6" fmla="*/ 20 w 124"/>
                <a:gd name="T7" fmla="*/ 35 h 35"/>
                <a:gd name="T8" fmla="*/ 20 w 124"/>
                <a:gd name="T9" fmla="*/ 35 h 35"/>
                <a:gd name="T10" fmla="*/ 24 w 124"/>
                <a:gd name="T11" fmla="*/ 35 h 35"/>
                <a:gd name="T12" fmla="*/ 24 w 124"/>
                <a:gd name="T13" fmla="*/ 35 h 35"/>
                <a:gd name="T14" fmla="*/ 124 w 124"/>
                <a:gd name="T15" fmla="*/ 35 h 35"/>
                <a:gd name="T16" fmla="*/ 124 w 124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35">
                  <a:moveTo>
                    <a:pt x="124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124" y="35"/>
                  </a:lnTo>
                  <a:lnTo>
                    <a:pt x="1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ïṧḷiḑé"/>
            <p:cNvSpPr/>
            <p:nvPr/>
          </p:nvSpPr>
          <p:spPr bwMode="auto">
            <a:xfrm>
              <a:off x="4748213" y="5335588"/>
              <a:ext cx="196850" cy="166688"/>
            </a:xfrm>
            <a:custGeom>
              <a:avLst/>
              <a:gdLst>
                <a:gd name="T0" fmla="*/ 57 w 57"/>
                <a:gd name="T1" fmla="*/ 0 h 48"/>
                <a:gd name="T2" fmla="*/ 11 w 57"/>
                <a:gd name="T3" fmla="*/ 0 h 48"/>
                <a:gd name="T4" fmla="*/ 11 w 57"/>
                <a:gd name="T5" fmla="*/ 0 h 48"/>
                <a:gd name="T6" fmla="*/ 0 w 57"/>
                <a:gd name="T7" fmla="*/ 12 h 48"/>
                <a:gd name="T8" fmla="*/ 0 w 57"/>
                <a:gd name="T9" fmla="*/ 48 h 48"/>
                <a:gd name="T10" fmla="*/ 57 w 57"/>
                <a:gd name="T11" fmla="*/ 48 h 48"/>
                <a:gd name="T12" fmla="*/ 57 w 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48">
                  <a:moveTo>
                    <a:pt x="5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îṥḻidé"/>
            <p:cNvSpPr/>
            <p:nvPr/>
          </p:nvSpPr>
          <p:spPr bwMode="auto">
            <a:xfrm>
              <a:off x="4748213" y="5502275"/>
              <a:ext cx="196850" cy="55563"/>
            </a:xfrm>
            <a:custGeom>
              <a:avLst/>
              <a:gdLst>
                <a:gd name="T0" fmla="*/ 124 w 124"/>
                <a:gd name="T1" fmla="*/ 0 h 35"/>
                <a:gd name="T2" fmla="*/ 0 w 124"/>
                <a:gd name="T3" fmla="*/ 0 h 35"/>
                <a:gd name="T4" fmla="*/ 0 w 124"/>
                <a:gd name="T5" fmla="*/ 2 h 35"/>
                <a:gd name="T6" fmla="*/ 0 w 124"/>
                <a:gd name="T7" fmla="*/ 35 h 35"/>
                <a:gd name="T8" fmla="*/ 124 w 124"/>
                <a:gd name="T9" fmla="*/ 35 h 35"/>
                <a:gd name="T10" fmla="*/ 124 w 124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35">
                  <a:moveTo>
                    <a:pt x="12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35"/>
                  </a:lnTo>
                  <a:lnTo>
                    <a:pt x="124" y="35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íslïdé"/>
            <p:cNvSpPr/>
            <p:nvPr/>
          </p:nvSpPr>
          <p:spPr bwMode="auto">
            <a:xfrm>
              <a:off x="4748213" y="5502275"/>
              <a:ext cx="196850" cy="55563"/>
            </a:xfrm>
            <a:custGeom>
              <a:avLst/>
              <a:gdLst>
                <a:gd name="T0" fmla="*/ 124 w 124"/>
                <a:gd name="T1" fmla="*/ 0 h 35"/>
                <a:gd name="T2" fmla="*/ 0 w 124"/>
                <a:gd name="T3" fmla="*/ 0 h 35"/>
                <a:gd name="T4" fmla="*/ 0 w 124"/>
                <a:gd name="T5" fmla="*/ 2 h 35"/>
                <a:gd name="T6" fmla="*/ 0 w 124"/>
                <a:gd name="T7" fmla="*/ 35 h 35"/>
                <a:gd name="T8" fmla="*/ 124 w 124"/>
                <a:gd name="T9" fmla="*/ 35 h 35"/>
                <a:gd name="T10" fmla="*/ 124 w 124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35">
                  <a:moveTo>
                    <a:pt x="12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35"/>
                  </a:lnTo>
                  <a:lnTo>
                    <a:pt x="124" y="35"/>
                  </a:lnTo>
                  <a:lnTo>
                    <a:pt x="1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ïşlíḋé"/>
            <p:cNvSpPr/>
            <p:nvPr/>
          </p:nvSpPr>
          <p:spPr bwMode="auto">
            <a:xfrm>
              <a:off x="5992813" y="5118100"/>
              <a:ext cx="203200" cy="258763"/>
            </a:xfrm>
            <a:custGeom>
              <a:avLst/>
              <a:gdLst>
                <a:gd name="T0" fmla="*/ 12 w 59"/>
                <a:gd name="T1" fmla="*/ 63 h 75"/>
                <a:gd name="T2" fmla="*/ 10 w 59"/>
                <a:gd name="T3" fmla="*/ 63 h 75"/>
                <a:gd name="T4" fmla="*/ 0 w 59"/>
                <a:gd name="T5" fmla="*/ 74 h 75"/>
                <a:gd name="T6" fmla="*/ 0 w 59"/>
                <a:gd name="T7" fmla="*/ 75 h 75"/>
                <a:gd name="T8" fmla="*/ 12 w 59"/>
                <a:gd name="T9" fmla="*/ 63 h 75"/>
                <a:gd name="T10" fmla="*/ 59 w 59"/>
                <a:gd name="T11" fmla="*/ 0 h 75"/>
                <a:gd name="T12" fmla="*/ 11 w 59"/>
                <a:gd name="T13" fmla="*/ 0 h 75"/>
                <a:gd name="T14" fmla="*/ 0 w 59"/>
                <a:gd name="T15" fmla="*/ 10 h 75"/>
                <a:gd name="T16" fmla="*/ 0 w 59"/>
                <a:gd name="T17" fmla="*/ 11 h 75"/>
                <a:gd name="T18" fmla="*/ 12 w 59"/>
                <a:gd name="T19" fmla="*/ 0 h 75"/>
                <a:gd name="T20" fmla="*/ 59 w 59"/>
                <a:gd name="T2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75">
                  <a:moveTo>
                    <a:pt x="12" y="63"/>
                  </a:move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" y="63"/>
                    <a:pt x="0" y="7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69"/>
                    <a:pt x="6" y="63"/>
                    <a:pt x="12" y="63"/>
                  </a:cubicBezTo>
                  <a:moveTo>
                    <a:pt x="5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ïṡļïḋe"/>
            <p:cNvSpPr/>
            <p:nvPr/>
          </p:nvSpPr>
          <p:spPr bwMode="auto">
            <a:xfrm>
              <a:off x="5992813" y="5118100"/>
              <a:ext cx="203200" cy="161925"/>
            </a:xfrm>
            <a:custGeom>
              <a:avLst/>
              <a:gdLst>
                <a:gd name="T0" fmla="*/ 59 w 59"/>
                <a:gd name="T1" fmla="*/ 0 h 47"/>
                <a:gd name="T2" fmla="*/ 12 w 59"/>
                <a:gd name="T3" fmla="*/ 0 h 47"/>
                <a:gd name="T4" fmla="*/ 0 w 59"/>
                <a:gd name="T5" fmla="*/ 11 h 47"/>
                <a:gd name="T6" fmla="*/ 0 w 59"/>
                <a:gd name="T7" fmla="*/ 47 h 47"/>
                <a:gd name="T8" fmla="*/ 59 w 59"/>
                <a:gd name="T9" fmla="*/ 47 h 47"/>
                <a:gd name="T10" fmla="*/ 59 w 59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7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ïSļïďe"/>
            <p:cNvSpPr/>
            <p:nvPr/>
          </p:nvSpPr>
          <p:spPr bwMode="auto">
            <a:xfrm>
              <a:off x="5992813" y="5280025"/>
              <a:ext cx="203200" cy="55563"/>
            </a:xfrm>
            <a:custGeom>
              <a:avLst/>
              <a:gdLst>
                <a:gd name="T0" fmla="*/ 128 w 128"/>
                <a:gd name="T1" fmla="*/ 0 h 35"/>
                <a:gd name="T2" fmla="*/ 0 w 128"/>
                <a:gd name="T3" fmla="*/ 0 h 35"/>
                <a:gd name="T4" fmla="*/ 0 w 128"/>
                <a:gd name="T5" fmla="*/ 35 h 35"/>
                <a:gd name="T6" fmla="*/ 21 w 128"/>
                <a:gd name="T7" fmla="*/ 35 h 35"/>
                <a:gd name="T8" fmla="*/ 21 w 128"/>
                <a:gd name="T9" fmla="*/ 35 h 35"/>
                <a:gd name="T10" fmla="*/ 26 w 128"/>
                <a:gd name="T11" fmla="*/ 35 h 35"/>
                <a:gd name="T12" fmla="*/ 26 w 128"/>
                <a:gd name="T13" fmla="*/ 35 h 35"/>
                <a:gd name="T14" fmla="*/ 128 w 128"/>
                <a:gd name="T15" fmla="*/ 35 h 35"/>
                <a:gd name="T16" fmla="*/ 128 w 128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35">
                  <a:moveTo>
                    <a:pt x="128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128" y="35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iṣḻíḓe"/>
            <p:cNvSpPr/>
            <p:nvPr/>
          </p:nvSpPr>
          <p:spPr bwMode="auto">
            <a:xfrm>
              <a:off x="5992813" y="5280025"/>
              <a:ext cx="203200" cy="55563"/>
            </a:xfrm>
            <a:custGeom>
              <a:avLst/>
              <a:gdLst>
                <a:gd name="T0" fmla="*/ 128 w 128"/>
                <a:gd name="T1" fmla="*/ 0 h 35"/>
                <a:gd name="T2" fmla="*/ 0 w 128"/>
                <a:gd name="T3" fmla="*/ 0 h 35"/>
                <a:gd name="T4" fmla="*/ 0 w 128"/>
                <a:gd name="T5" fmla="*/ 35 h 35"/>
                <a:gd name="T6" fmla="*/ 21 w 128"/>
                <a:gd name="T7" fmla="*/ 35 h 35"/>
                <a:gd name="T8" fmla="*/ 21 w 128"/>
                <a:gd name="T9" fmla="*/ 35 h 35"/>
                <a:gd name="T10" fmla="*/ 26 w 128"/>
                <a:gd name="T11" fmla="*/ 35 h 35"/>
                <a:gd name="T12" fmla="*/ 26 w 128"/>
                <a:gd name="T13" fmla="*/ 35 h 35"/>
                <a:gd name="T14" fmla="*/ 128 w 128"/>
                <a:gd name="T15" fmla="*/ 35 h 35"/>
                <a:gd name="T16" fmla="*/ 128 w 128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35">
                  <a:moveTo>
                    <a:pt x="128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128" y="35"/>
                  </a:lnTo>
                  <a:lnTo>
                    <a:pt x="1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ïŝ1ídé"/>
            <p:cNvSpPr/>
            <p:nvPr/>
          </p:nvSpPr>
          <p:spPr bwMode="auto">
            <a:xfrm>
              <a:off x="5992813" y="5335588"/>
              <a:ext cx="203200" cy="166688"/>
            </a:xfrm>
            <a:custGeom>
              <a:avLst/>
              <a:gdLst>
                <a:gd name="T0" fmla="*/ 59 w 59"/>
                <a:gd name="T1" fmla="*/ 0 h 48"/>
                <a:gd name="T2" fmla="*/ 12 w 59"/>
                <a:gd name="T3" fmla="*/ 0 h 48"/>
                <a:gd name="T4" fmla="*/ 12 w 59"/>
                <a:gd name="T5" fmla="*/ 0 h 48"/>
                <a:gd name="T6" fmla="*/ 0 w 59"/>
                <a:gd name="T7" fmla="*/ 12 h 48"/>
                <a:gd name="T8" fmla="*/ 0 w 59"/>
                <a:gd name="T9" fmla="*/ 48 h 48"/>
                <a:gd name="T10" fmla="*/ 59 w 59"/>
                <a:gd name="T11" fmla="*/ 48 h 48"/>
                <a:gd name="T12" fmla="*/ 59 w 59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48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iŝḷiḓè"/>
            <p:cNvSpPr/>
            <p:nvPr/>
          </p:nvSpPr>
          <p:spPr bwMode="auto">
            <a:xfrm>
              <a:off x="5992813" y="5502275"/>
              <a:ext cx="203200" cy="55563"/>
            </a:xfrm>
            <a:prstGeom prst="rect">
              <a:avLst/>
            </a:pr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ïṡļiḋè"/>
            <p:cNvSpPr/>
            <p:nvPr/>
          </p:nvSpPr>
          <p:spPr bwMode="auto">
            <a:xfrm>
              <a:off x="5992813" y="5502275"/>
              <a:ext cx="203200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ïṧlïde"/>
            <p:cNvSpPr/>
            <p:nvPr/>
          </p:nvSpPr>
          <p:spPr bwMode="auto">
            <a:xfrm>
              <a:off x="7250113" y="5308600"/>
              <a:ext cx="204787" cy="41275"/>
            </a:xfrm>
            <a:custGeom>
              <a:avLst/>
              <a:gdLst>
                <a:gd name="T0" fmla="*/ 59 w 59"/>
                <a:gd name="T1" fmla="*/ 0 h 12"/>
                <a:gd name="T2" fmla="*/ 11 w 59"/>
                <a:gd name="T3" fmla="*/ 0 h 12"/>
                <a:gd name="T4" fmla="*/ 0 w 59"/>
                <a:gd name="T5" fmla="*/ 11 h 12"/>
                <a:gd name="T6" fmla="*/ 0 w 59"/>
                <a:gd name="T7" fmla="*/ 12 h 12"/>
                <a:gd name="T8" fmla="*/ 12 w 59"/>
                <a:gd name="T9" fmla="*/ 0 h 12"/>
                <a:gd name="T10" fmla="*/ 59 w 59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12">
                  <a:moveTo>
                    <a:pt x="5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iṣ1íḓè"/>
            <p:cNvSpPr/>
            <p:nvPr/>
          </p:nvSpPr>
          <p:spPr bwMode="auto">
            <a:xfrm>
              <a:off x="7250113" y="5308600"/>
              <a:ext cx="204787" cy="165100"/>
            </a:xfrm>
            <a:custGeom>
              <a:avLst/>
              <a:gdLst>
                <a:gd name="T0" fmla="*/ 59 w 59"/>
                <a:gd name="T1" fmla="*/ 0 h 48"/>
                <a:gd name="T2" fmla="*/ 12 w 59"/>
                <a:gd name="T3" fmla="*/ 0 h 48"/>
                <a:gd name="T4" fmla="*/ 0 w 59"/>
                <a:gd name="T5" fmla="*/ 12 h 48"/>
                <a:gd name="T6" fmla="*/ 0 w 59"/>
                <a:gd name="T7" fmla="*/ 48 h 48"/>
                <a:gd name="T8" fmla="*/ 59 w 59"/>
                <a:gd name="T9" fmla="*/ 48 h 48"/>
                <a:gd name="T10" fmla="*/ 59 w 59"/>
                <a:gd name="T1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8">
                  <a:moveTo>
                    <a:pt x="5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F6BE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îṣliḑè"/>
            <p:cNvSpPr/>
            <p:nvPr/>
          </p:nvSpPr>
          <p:spPr bwMode="auto">
            <a:xfrm>
              <a:off x="7250113" y="5473700"/>
              <a:ext cx="204787" cy="55563"/>
            </a:xfrm>
            <a:prstGeom prst="rect">
              <a:avLst/>
            </a:prstGeom>
            <a:solidFill>
              <a:srgbClr val="EB9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îṩľiḓé"/>
            <p:cNvSpPr/>
            <p:nvPr/>
          </p:nvSpPr>
          <p:spPr bwMode="auto">
            <a:xfrm>
              <a:off x="7250113" y="5473700"/>
              <a:ext cx="204787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íŝľíďé"/>
            <p:cNvSpPr/>
            <p:nvPr/>
          </p:nvSpPr>
          <p:spPr bwMode="auto">
            <a:xfrm>
              <a:off x="7569200" y="5145088"/>
              <a:ext cx="261937" cy="163513"/>
            </a:xfrm>
            <a:custGeom>
              <a:avLst/>
              <a:gdLst>
                <a:gd name="T0" fmla="*/ 82 w 165"/>
                <a:gd name="T1" fmla="*/ 0 h 103"/>
                <a:gd name="T2" fmla="*/ 0 w 165"/>
                <a:gd name="T3" fmla="*/ 103 h 103"/>
                <a:gd name="T4" fmla="*/ 82 w 165"/>
                <a:gd name="T5" fmla="*/ 103 h 103"/>
                <a:gd name="T6" fmla="*/ 165 w 165"/>
                <a:gd name="T7" fmla="*/ 103 h 103"/>
                <a:gd name="T8" fmla="*/ 82 w 16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103">
                  <a:moveTo>
                    <a:pt x="82" y="0"/>
                  </a:moveTo>
                  <a:lnTo>
                    <a:pt x="0" y="103"/>
                  </a:lnTo>
                  <a:lnTo>
                    <a:pt x="82" y="103"/>
                  </a:lnTo>
                  <a:lnTo>
                    <a:pt x="165" y="10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894B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íşľîḋê"/>
            <p:cNvSpPr/>
            <p:nvPr/>
          </p:nvSpPr>
          <p:spPr bwMode="auto">
            <a:xfrm>
              <a:off x="3441700" y="3298825"/>
              <a:ext cx="500062" cy="371475"/>
            </a:xfrm>
            <a:custGeom>
              <a:avLst/>
              <a:gdLst>
                <a:gd name="T0" fmla="*/ 144 w 144"/>
                <a:gd name="T1" fmla="*/ 88 h 107"/>
                <a:gd name="T2" fmla="*/ 0 w 144"/>
                <a:gd name="T3" fmla="*/ 0 h 107"/>
                <a:gd name="T4" fmla="*/ 144 w 144"/>
                <a:gd name="T5" fmla="*/ 8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4" h="107">
                  <a:moveTo>
                    <a:pt x="144" y="8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0"/>
                    <a:pt x="36" y="107"/>
                    <a:pt x="144" y="88"/>
                  </a:cubicBezTo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ïşļiḋè"/>
            <p:cNvSpPr/>
            <p:nvPr/>
          </p:nvSpPr>
          <p:spPr bwMode="auto">
            <a:xfrm>
              <a:off x="3441700" y="3222625"/>
              <a:ext cx="500062" cy="381000"/>
            </a:xfrm>
            <a:custGeom>
              <a:avLst/>
              <a:gdLst>
                <a:gd name="T0" fmla="*/ 0 w 144"/>
                <a:gd name="T1" fmla="*/ 21 h 110"/>
                <a:gd name="T2" fmla="*/ 0 w 144"/>
                <a:gd name="T3" fmla="*/ 22 h 110"/>
                <a:gd name="T4" fmla="*/ 144 w 144"/>
                <a:gd name="T5" fmla="*/ 110 h 110"/>
                <a:gd name="T6" fmla="*/ 0 w 144"/>
                <a:gd name="T7" fmla="*/ 2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110">
                  <a:moveTo>
                    <a:pt x="0" y="21"/>
                  </a:moveTo>
                  <a:cubicBezTo>
                    <a:pt x="0" y="21"/>
                    <a:pt x="0" y="21"/>
                    <a:pt x="0" y="22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09" y="0"/>
                    <a:pt x="0" y="21"/>
                    <a:pt x="0" y="21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íš1íḍe"/>
            <p:cNvSpPr/>
            <p:nvPr/>
          </p:nvSpPr>
          <p:spPr bwMode="auto">
            <a:xfrm>
              <a:off x="3944938" y="3230563"/>
              <a:ext cx="498475" cy="369888"/>
            </a:xfrm>
            <a:custGeom>
              <a:avLst/>
              <a:gdLst>
                <a:gd name="T0" fmla="*/ 144 w 144"/>
                <a:gd name="T1" fmla="*/ 19 h 107"/>
                <a:gd name="T2" fmla="*/ 0 w 144"/>
                <a:gd name="T3" fmla="*/ 107 h 107"/>
                <a:gd name="T4" fmla="*/ 144 w 144"/>
                <a:gd name="T5" fmla="*/ 1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4" h="107">
                  <a:moveTo>
                    <a:pt x="144" y="19"/>
                  </a:moveTo>
                  <a:cubicBezTo>
                    <a:pt x="0" y="107"/>
                    <a:pt x="0" y="107"/>
                    <a:pt x="0" y="107"/>
                  </a:cubicBezTo>
                  <a:cubicBezTo>
                    <a:pt x="3" y="97"/>
                    <a:pt x="36" y="0"/>
                    <a:pt x="144" y="19"/>
                  </a:cubicBezTo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ïṧḷiḑê"/>
            <p:cNvSpPr/>
            <p:nvPr/>
          </p:nvSpPr>
          <p:spPr bwMode="auto">
            <a:xfrm>
              <a:off x="3944938" y="3295650"/>
              <a:ext cx="498475" cy="381000"/>
            </a:xfrm>
            <a:custGeom>
              <a:avLst/>
              <a:gdLst>
                <a:gd name="T0" fmla="*/ 0 w 144"/>
                <a:gd name="T1" fmla="*/ 89 h 110"/>
                <a:gd name="T2" fmla="*/ 0 w 144"/>
                <a:gd name="T3" fmla="*/ 88 h 110"/>
                <a:gd name="T4" fmla="*/ 144 w 144"/>
                <a:gd name="T5" fmla="*/ 0 h 110"/>
                <a:gd name="T6" fmla="*/ 0 w 144"/>
                <a:gd name="T7" fmla="*/ 8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110">
                  <a:moveTo>
                    <a:pt x="0" y="89"/>
                  </a:moveTo>
                  <a:cubicBezTo>
                    <a:pt x="0" y="89"/>
                    <a:pt x="0" y="88"/>
                    <a:pt x="0" y="88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10" y="110"/>
                    <a:pt x="0" y="89"/>
                    <a:pt x="0" y="89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ïš1ïḍè"/>
            <p:cNvSpPr/>
            <p:nvPr/>
          </p:nvSpPr>
          <p:spPr bwMode="auto">
            <a:xfrm>
              <a:off x="3906838" y="3251200"/>
              <a:ext cx="68262" cy="741363"/>
            </a:xfrm>
            <a:custGeom>
              <a:avLst/>
              <a:gdLst>
                <a:gd name="T0" fmla="*/ 10 w 20"/>
                <a:gd name="T1" fmla="*/ 214 h 214"/>
                <a:gd name="T2" fmla="*/ 0 w 20"/>
                <a:gd name="T3" fmla="*/ 204 h 214"/>
                <a:gd name="T4" fmla="*/ 0 w 20"/>
                <a:gd name="T5" fmla="*/ 10 h 214"/>
                <a:gd name="T6" fmla="*/ 10 w 20"/>
                <a:gd name="T7" fmla="*/ 0 h 214"/>
                <a:gd name="T8" fmla="*/ 20 w 20"/>
                <a:gd name="T9" fmla="*/ 10 h 214"/>
                <a:gd name="T10" fmla="*/ 20 w 20"/>
                <a:gd name="T11" fmla="*/ 204 h 214"/>
                <a:gd name="T12" fmla="*/ 10 w 20"/>
                <a:gd name="T13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14">
                  <a:moveTo>
                    <a:pt x="10" y="214"/>
                  </a:moveTo>
                  <a:cubicBezTo>
                    <a:pt x="4" y="214"/>
                    <a:pt x="0" y="209"/>
                    <a:pt x="0" y="20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5" y="0"/>
                    <a:pt x="20" y="5"/>
                    <a:pt x="20" y="10"/>
                  </a:cubicBezTo>
                  <a:cubicBezTo>
                    <a:pt x="20" y="204"/>
                    <a:pt x="20" y="204"/>
                    <a:pt x="20" y="204"/>
                  </a:cubicBezTo>
                  <a:cubicBezTo>
                    <a:pt x="20" y="209"/>
                    <a:pt x="15" y="214"/>
                    <a:pt x="10" y="214"/>
                  </a:cubicBezTo>
                  <a:close/>
                </a:path>
              </a:pathLst>
            </a:custGeom>
            <a:solidFill>
              <a:srgbClr val="894B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îṧļîďê"/>
            <p:cNvSpPr/>
            <p:nvPr/>
          </p:nvSpPr>
          <p:spPr bwMode="auto">
            <a:xfrm>
              <a:off x="3810000" y="3846513"/>
              <a:ext cx="261937" cy="163513"/>
            </a:xfrm>
            <a:custGeom>
              <a:avLst/>
              <a:gdLst>
                <a:gd name="T0" fmla="*/ 83 w 165"/>
                <a:gd name="T1" fmla="*/ 0 h 103"/>
                <a:gd name="T2" fmla="*/ 0 w 165"/>
                <a:gd name="T3" fmla="*/ 103 h 103"/>
                <a:gd name="T4" fmla="*/ 83 w 165"/>
                <a:gd name="T5" fmla="*/ 103 h 103"/>
                <a:gd name="T6" fmla="*/ 165 w 165"/>
                <a:gd name="T7" fmla="*/ 103 h 103"/>
                <a:gd name="T8" fmla="*/ 83 w 16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103">
                  <a:moveTo>
                    <a:pt x="83" y="0"/>
                  </a:moveTo>
                  <a:lnTo>
                    <a:pt x="0" y="103"/>
                  </a:lnTo>
                  <a:lnTo>
                    <a:pt x="83" y="103"/>
                  </a:lnTo>
                  <a:lnTo>
                    <a:pt x="165" y="103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rgbClr val="894B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ïSlíḋé"/>
            <p:cNvSpPr/>
            <p:nvPr/>
          </p:nvSpPr>
          <p:spPr bwMode="auto">
            <a:xfrm>
              <a:off x="3687763" y="2773363"/>
              <a:ext cx="254000" cy="584200"/>
            </a:xfrm>
            <a:custGeom>
              <a:avLst/>
              <a:gdLst>
                <a:gd name="T0" fmla="*/ 73 w 73"/>
                <a:gd name="T1" fmla="*/ 169 h 169"/>
                <a:gd name="T2" fmla="*/ 73 w 73"/>
                <a:gd name="T3" fmla="*/ 0 h 169"/>
                <a:gd name="T4" fmla="*/ 73 w 73"/>
                <a:gd name="T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69">
                  <a:moveTo>
                    <a:pt x="73" y="169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66" y="8"/>
                    <a:pt x="0" y="87"/>
                    <a:pt x="73" y="169"/>
                  </a:cubicBezTo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ïṩlïḑê"/>
            <p:cNvSpPr/>
            <p:nvPr/>
          </p:nvSpPr>
          <p:spPr bwMode="auto">
            <a:xfrm>
              <a:off x="3941763" y="2773363"/>
              <a:ext cx="261937" cy="584200"/>
            </a:xfrm>
            <a:custGeom>
              <a:avLst/>
              <a:gdLst>
                <a:gd name="T0" fmla="*/ 0 w 76"/>
                <a:gd name="T1" fmla="*/ 0 h 169"/>
                <a:gd name="T2" fmla="*/ 0 w 76"/>
                <a:gd name="T3" fmla="*/ 0 h 169"/>
                <a:gd name="T4" fmla="*/ 0 w 76"/>
                <a:gd name="T5" fmla="*/ 169 h 169"/>
                <a:gd name="T6" fmla="*/ 0 w 76"/>
                <a:gd name="T7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6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76" y="8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íSlíḋe"/>
            <p:cNvSpPr/>
            <p:nvPr/>
          </p:nvSpPr>
          <p:spPr bwMode="auto">
            <a:xfrm>
              <a:off x="6391275" y="4775200"/>
              <a:ext cx="68262" cy="307975"/>
            </a:xfrm>
            <a:custGeom>
              <a:avLst/>
              <a:gdLst>
                <a:gd name="T0" fmla="*/ 10 w 20"/>
                <a:gd name="T1" fmla="*/ 89 h 89"/>
                <a:gd name="T2" fmla="*/ 0 w 20"/>
                <a:gd name="T3" fmla="*/ 79 h 89"/>
                <a:gd name="T4" fmla="*/ 0 w 20"/>
                <a:gd name="T5" fmla="*/ 10 h 89"/>
                <a:gd name="T6" fmla="*/ 10 w 20"/>
                <a:gd name="T7" fmla="*/ 0 h 89"/>
                <a:gd name="T8" fmla="*/ 20 w 20"/>
                <a:gd name="T9" fmla="*/ 10 h 89"/>
                <a:gd name="T10" fmla="*/ 20 w 20"/>
                <a:gd name="T11" fmla="*/ 79 h 89"/>
                <a:gd name="T12" fmla="*/ 10 w 20"/>
                <a:gd name="T13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89">
                  <a:moveTo>
                    <a:pt x="10" y="89"/>
                  </a:moveTo>
                  <a:cubicBezTo>
                    <a:pt x="4" y="89"/>
                    <a:pt x="0" y="84"/>
                    <a:pt x="0" y="7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" y="0"/>
                    <a:pt x="20" y="4"/>
                    <a:pt x="20" y="10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84"/>
                    <a:pt x="15" y="89"/>
                    <a:pt x="10" y="89"/>
                  </a:cubicBezTo>
                  <a:close/>
                </a:path>
              </a:pathLst>
            </a:custGeom>
            <a:solidFill>
              <a:srgbClr val="894B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ï$lîḓè"/>
            <p:cNvSpPr/>
            <p:nvPr/>
          </p:nvSpPr>
          <p:spPr bwMode="auto">
            <a:xfrm>
              <a:off x="6292850" y="4951413"/>
              <a:ext cx="263525" cy="166688"/>
            </a:xfrm>
            <a:custGeom>
              <a:avLst/>
              <a:gdLst>
                <a:gd name="T0" fmla="*/ 83 w 166"/>
                <a:gd name="T1" fmla="*/ 0 h 105"/>
                <a:gd name="T2" fmla="*/ 0 w 166"/>
                <a:gd name="T3" fmla="*/ 105 h 105"/>
                <a:gd name="T4" fmla="*/ 83 w 166"/>
                <a:gd name="T5" fmla="*/ 105 h 105"/>
                <a:gd name="T6" fmla="*/ 166 w 166"/>
                <a:gd name="T7" fmla="*/ 105 h 105"/>
                <a:gd name="T8" fmla="*/ 83 w 166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05">
                  <a:moveTo>
                    <a:pt x="83" y="0"/>
                  </a:moveTo>
                  <a:lnTo>
                    <a:pt x="0" y="105"/>
                  </a:lnTo>
                  <a:lnTo>
                    <a:pt x="83" y="105"/>
                  </a:lnTo>
                  <a:lnTo>
                    <a:pt x="166" y="105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rgbClr val="894B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Sļiḍè"/>
            <p:cNvSpPr/>
            <p:nvPr/>
          </p:nvSpPr>
          <p:spPr bwMode="auto">
            <a:xfrm>
              <a:off x="6172200" y="4279900"/>
              <a:ext cx="252412" cy="584200"/>
            </a:xfrm>
            <a:custGeom>
              <a:avLst/>
              <a:gdLst>
                <a:gd name="T0" fmla="*/ 73 w 73"/>
                <a:gd name="T1" fmla="*/ 169 h 169"/>
                <a:gd name="T2" fmla="*/ 73 w 73"/>
                <a:gd name="T3" fmla="*/ 0 h 169"/>
                <a:gd name="T4" fmla="*/ 73 w 73"/>
                <a:gd name="T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69">
                  <a:moveTo>
                    <a:pt x="73" y="169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66" y="8"/>
                    <a:pt x="0" y="86"/>
                    <a:pt x="73" y="169"/>
                  </a:cubicBezTo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ş1íḍè"/>
            <p:cNvSpPr/>
            <p:nvPr/>
          </p:nvSpPr>
          <p:spPr bwMode="auto">
            <a:xfrm>
              <a:off x="6424613" y="4276725"/>
              <a:ext cx="263525" cy="587375"/>
            </a:xfrm>
            <a:custGeom>
              <a:avLst/>
              <a:gdLst>
                <a:gd name="T0" fmla="*/ 0 w 76"/>
                <a:gd name="T1" fmla="*/ 0 h 170"/>
                <a:gd name="T2" fmla="*/ 0 w 76"/>
                <a:gd name="T3" fmla="*/ 1 h 170"/>
                <a:gd name="T4" fmla="*/ 0 w 76"/>
                <a:gd name="T5" fmla="*/ 170 h 170"/>
                <a:gd name="T6" fmla="*/ 0 w 76"/>
                <a:gd name="T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70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76" y="8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ṥļiḋe"/>
            <p:cNvSpPr/>
            <p:nvPr/>
          </p:nvSpPr>
          <p:spPr bwMode="auto">
            <a:xfrm>
              <a:off x="4745038" y="3929063"/>
              <a:ext cx="412750" cy="412750"/>
            </a:xfrm>
            <a:custGeom>
              <a:avLst/>
              <a:gdLst>
                <a:gd name="T0" fmla="*/ 119 w 119"/>
                <a:gd name="T1" fmla="*/ 119 h 119"/>
                <a:gd name="T2" fmla="*/ 0 w 119"/>
                <a:gd name="T3" fmla="*/ 0 h 119"/>
                <a:gd name="T4" fmla="*/ 119 w 119"/>
                <a:gd name="T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9" h="119">
                  <a:moveTo>
                    <a:pt x="119" y="1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10" y="112"/>
                    <a:pt x="119" y="119"/>
                  </a:cubicBezTo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îşliḋè"/>
            <p:cNvSpPr/>
            <p:nvPr/>
          </p:nvSpPr>
          <p:spPr bwMode="auto">
            <a:xfrm>
              <a:off x="4745038" y="3925888"/>
              <a:ext cx="412750" cy="415925"/>
            </a:xfrm>
            <a:custGeom>
              <a:avLst/>
              <a:gdLst>
                <a:gd name="T0" fmla="*/ 0 w 119"/>
                <a:gd name="T1" fmla="*/ 0 h 120"/>
                <a:gd name="T2" fmla="*/ 0 w 119"/>
                <a:gd name="T3" fmla="*/ 1 h 120"/>
                <a:gd name="T4" fmla="*/ 119 w 119"/>
                <a:gd name="T5" fmla="*/ 120 h 120"/>
                <a:gd name="T6" fmla="*/ 0 w 119"/>
                <a:gd name="T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20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19" y="120"/>
                    <a:pt x="119" y="120"/>
                    <a:pt x="119" y="120"/>
                  </a:cubicBezTo>
                  <a:cubicBezTo>
                    <a:pt x="111" y="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iṡľíḓé"/>
            <p:cNvSpPr/>
            <p:nvPr/>
          </p:nvSpPr>
          <p:spPr bwMode="auto">
            <a:xfrm>
              <a:off x="5143500" y="3975100"/>
              <a:ext cx="68262" cy="682625"/>
            </a:xfrm>
            <a:custGeom>
              <a:avLst/>
              <a:gdLst>
                <a:gd name="T0" fmla="*/ 10 w 20"/>
                <a:gd name="T1" fmla="*/ 197 h 197"/>
                <a:gd name="T2" fmla="*/ 0 w 20"/>
                <a:gd name="T3" fmla="*/ 187 h 197"/>
                <a:gd name="T4" fmla="*/ 0 w 20"/>
                <a:gd name="T5" fmla="*/ 10 h 197"/>
                <a:gd name="T6" fmla="*/ 10 w 20"/>
                <a:gd name="T7" fmla="*/ 0 h 197"/>
                <a:gd name="T8" fmla="*/ 20 w 20"/>
                <a:gd name="T9" fmla="*/ 10 h 197"/>
                <a:gd name="T10" fmla="*/ 20 w 20"/>
                <a:gd name="T11" fmla="*/ 187 h 197"/>
                <a:gd name="T12" fmla="*/ 10 w 20"/>
                <a:gd name="T13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97">
                  <a:moveTo>
                    <a:pt x="10" y="197"/>
                  </a:moveTo>
                  <a:cubicBezTo>
                    <a:pt x="5" y="197"/>
                    <a:pt x="0" y="193"/>
                    <a:pt x="0" y="18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16" y="0"/>
                    <a:pt x="20" y="5"/>
                    <a:pt x="20" y="10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0" y="193"/>
                    <a:pt x="16" y="197"/>
                    <a:pt x="10" y="197"/>
                  </a:cubicBezTo>
                  <a:close/>
                </a:path>
              </a:pathLst>
            </a:custGeom>
            <a:solidFill>
              <a:srgbClr val="894B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íṡľïḑe"/>
            <p:cNvSpPr/>
            <p:nvPr/>
          </p:nvSpPr>
          <p:spPr bwMode="auto">
            <a:xfrm>
              <a:off x="5046663" y="4514850"/>
              <a:ext cx="266700" cy="166688"/>
            </a:xfrm>
            <a:custGeom>
              <a:avLst/>
              <a:gdLst>
                <a:gd name="T0" fmla="*/ 83 w 168"/>
                <a:gd name="T1" fmla="*/ 0 h 105"/>
                <a:gd name="T2" fmla="*/ 0 w 168"/>
                <a:gd name="T3" fmla="*/ 105 h 105"/>
                <a:gd name="T4" fmla="*/ 83 w 168"/>
                <a:gd name="T5" fmla="*/ 105 h 105"/>
                <a:gd name="T6" fmla="*/ 168 w 168"/>
                <a:gd name="T7" fmla="*/ 105 h 105"/>
                <a:gd name="T8" fmla="*/ 83 w 168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05">
                  <a:moveTo>
                    <a:pt x="83" y="0"/>
                  </a:moveTo>
                  <a:lnTo>
                    <a:pt x="0" y="105"/>
                  </a:lnTo>
                  <a:lnTo>
                    <a:pt x="83" y="105"/>
                  </a:lnTo>
                  <a:lnTo>
                    <a:pt x="168" y="105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rgbClr val="894B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iŝ1ïḋé"/>
            <p:cNvSpPr/>
            <p:nvPr/>
          </p:nvSpPr>
          <p:spPr bwMode="auto">
            <a:xfrm>
              <a:off x="4929188" y="3455988"/>
              <a:ext cx="249237" cy="584200"/>
            </a:xfrm>
            <a:custGeom>
              <a:avLst/>
              <a:gdLst>
                <a:gd name="T0" fmla="*/ 72 w 72"/>
                <a:gd name="T1" fmla="*/ 169 h 169"/>
                <a:gd name="T2" fmla="*/ 72 w 72"/>
                <a:gd name="T3" fmla="*/ 0 h 169"/>
                <a:gd name="T4" fmla="*/ 72 w 72"/>
                <a:gd name="T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169">
                  <a:moveTo>
                    <a:pt x="72" y="169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65" y="8"/>
                    <a:pt x="0" y="86"/>
                    <a:pt x="72" y="169"/>
                  </a:cubicBezTo>
                </a:path>
              </a:pathLst>
            </a:custGeom>
            <a:solidFill>
              <a:srgbClr val="22B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ï$ļïḑê"/>
            <p:cNvSpPr/>
            <p:nvPr/>
          </p:nvSpPr>
          <p:spPr bwMode="auto">
            <a:xfrm>
              <a:off x="5178425" y="3451225"/>
              <a:ext cx="263525" cy="588963"/>
            </a:xfrm>
            <a:custGeom>
              <a:avLst/>
              <a:gdLst>
                <a:gd name="T0" fmla="*/ 1 w 76"/>
                <a:gd name="T1" fmla="*/ 0 h 170"/>
                <a:gd name="T2" fmla="*/ 0 w 76"/>
                <a:gd name="T3" fmla="*/ 1 h 170"/>
                <a:gd name="T4" fmla="*/ 0 w 76"/>
                <a:gd name="T5" fmla="*/ 170 h 170"/>
                <a:gd name="T6" fmla="*/ 1 w 76"/>
                <a:gd name="T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70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76" y="83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1A8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08" name="文本框 507"/>
          <p:cNvSpPr txBox="1"/>
          <p:nvPr/>
        </p:nvSpPr>
        <p:spPr>
          <a:xfrm>
            <a:off x="1220410" y="1281925"/>
            <a:ext cx="9258906" cy="646331"/>
          </a:xfrm>
          <a:prstGeom prst="rect">
            <a:avLst/>
          </a:prstGeom>
          <a:solidFill>
            <a:schemeClr val="bg1">
              <a:alpha val="36000"/>
            </a:schemeClr>
          </a:solidFill>
          <a:effectLst>
            <a:softEdge rad="88900"/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Working together towards a better future!</a:t>
            </a:r>
            <a:endParaRPr kumimoji="0" lang="zh-CN" altLang="en-US" sz="3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509" name="矩形 508"/>
          <p:cNvSpPr/>
          <p:nvPr/>
        </p:nvSpPr>
        <p:spPr>
          <a:xfrm>
            <a:off x="-1515" y="-11343"/>
            <a:ext cx="3805055" cy="640939"/>
          </a:xfrm>
          <a:prstGeom prst="rect">
            <a:avLst/>
          </a:prstGeom>
          <a:solidFill>
            <a:schemeClr val="accent1">
              <a:lumMod val="60000"/>
              <a:lumOff val="40000"/>
              <a:alpha val="77000"/>
            </a:schemeClr>
          </a:solidFill>
          <a:ln>
            <a:noFill/>
          </a:ln>
          <a:effectLst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Summary and Appeal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862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沙滩上的风景&#10;&#10;描述已自动生成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092391" y="1190624"/>
            <a:ext cx="3781425" cy="378142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5377032" y="3254217"/>
            <a:ext cx="4619625" cy="446604"/>
          </a:xfrm>
          <a:prstGeom prst="rect">
            <a:avLst/>
          </a:prstGeom>
          <a:solidFill>
            <a:srgbClr val="D284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or you listening</a:t>
            </a:r>
            <a:endParaRPr lang="zh-CN" altLang="en-US" sz="24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070807" y="2036179"/>
            <a:ext cx="52320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200" i="1" spc="600" dirty="0">
                <a:solidFill>
                  <a:srgbClr val="D28472"/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THANKS.</a:t>
            </a:r>
            <a:endParaRPr lang="zh-CN" altLang="en-US" sz="7200" i="1" spc="600" dirty="0">
              <a:solidFill>
                <a:srgbClr val="D28472"/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rgbClr val="E9DE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96"/>
          <a:stretch>
            <a:fillRect/>
          </a:stretch>
        </p:blipFill>
        <p:spPr>
          <a:xfrm>
            <a:off x="556124" y="2599521"/>
            <a:ext cx="4228557" cy="2544782"/>
          </a:xfrm>
          <a:prstGeom prst="rect">
            <a:avLst/>
          </a:prstGeom>
        </p:spPr>
      </p:pic>
      <p:grpSp>
        <p:nvGrpSpPr>
          <p:cNvPr id="9" name="组合 8"/>
          <p:cNvGrpSpPr/>
          <p:nvPr/>
        </p:nvGrpSpPr>
        <p:grpSpPr>
          <a:xfrm>
            <a:off x="4579544" y="3505676"/>
            <a:ext cx="579120" cy="579120"/>
            <a:chOff x="6438900" y="838200"/>
            <a:chExt cx="914400" cy="914400"/>
          </a:xfrm>
        </p:grpSpPr>
        <p:sp>
          <p:nvSpPr>
            <p:cNvPr id="4" name="矩形 3"/>
            <p:cNvSpPr/>
            <p:nvPr/>
          </p:nvSpPr>
          <p:spPr>
            <a:xfrm>
              <a:off x="6438900" y="838200"/>
              <a:ext cx="914400" cy="914400"/>
            </a:xfrm>
            <a:prstGeom prst="rect">
              <a:avLst/>
            </a:prstGeom>
            <a:solidFill>
              <a:srgbClr val="4862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6" name="直接箭头连接符 5"/>
            <p:cNvCxnSpPr/>
            <p:nvPr/>
          </p:nvCxnSpPr>
          <p:spPr>
            <a:xfrm>
              <a:off x="6650355" y="1297305"/>
              <a:ext cx="489585" cy="0"/>
            </a:xfrm>
            <a:prstGeom prst="straightConnector1">
              <a:avLst/>
            </a:prstGeom>
            <a:ln w="25400" cap="rnd">
              <a:solidFill>
                <a:schemeClr val="bg1"/>
              </a:solidFill>
              <a:round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文本框 11"/>
          <p:cNvSpPr txBox="1"/>
          <p:nvPr/>
        </p:nvSpPr>
        <p:spPr>
          <a:xfrm>
            <a:off x="5074844" y="2518231"/>
            <a:ext cx="464454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7200" b="0" i="1" u="none" strike="noStrike" kern="1200" cap="none" spc="600" normalizeH="0" baseline="0" noProof="0">
                <a:ln>
                  <a:noFill/>
                </a:ln>
                <a:solidFill>
                  <a:srgbClr val="D28472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PART 01</a:t>
            </a:r>
            <a:endParaRPr kumimoji="0" lang="zh-CN" altLang="en-US" sz="7200" b="0" i="1" u="none" strike="noStrike" kern="1200" cap="none" spc="600" normalizeH="0" baseline="0" noProof="0">
              <a:ln>
                <a:noFill/>
              </a:ln>
              <a:solidFill>
                <a:srgbClr val="D28472"/>
              </a:solidFill>
              <a:effectLst/>
              <a:uLnTx/>
              <a:uFillTx/>
              <a:latin typeface="思源宋体 CN Heavy" panose="02020900000000000000" pitchFamily="18" charset="-122"/>
              <a:ea typeface="思源宋体 CN Heavy" panose="02020900000000000000" pitchFamily="18" charset="-122"/>
              <a:cs typeface="+mn-cs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11277600" y="0"/>
            <a:ext cx="914400" cy="6858000"/>
          </a:xfrm>
          <a:prstGeom prst="rect">
            <a:avLst/>
          </a:prstGeom>
          <a:solidFill>
            <a:srgbClr val="E9DE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074844" y="3871912"/>
            <a:ext cx="4644541" cy="10919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  <a:alpha val="70000"/>
                  </a:prst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What is social harmony and why is it so important.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  <a:alpha val="70000"/>
                </a:prstClr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68014" y="5180748"/>
            <a:ext cx="12325350" cy="1828799"/>
          </a:xfrm>
          <a:prstGeom prst="rect">
            <a:avLst/>
          </a:prstGeom>
          <a:solidFill>
            <a:srgbClr val="E9DECA"/>
          </a:solidFill>
          <a:ln>
            <a:noFill/>
          </a:ln>
          <a:effectLst>
            <a:glow>
              <a:schemeClr val="accent1"/>
            </a:glow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8672" y="-58456"/>
            <a:ext cx="4409384" cy="5611530"/>
          </a:xfrm>
          <a:prstGeom prst="rect">
            <a:avLst/>
          </a:prstGeom>
          <a:effectLst>
            <a:softEdge rad="114300"/>
          </a:effectLst>
        </p:spPr>
      </p:pic>
      <p:sp>
        <p:nvSpPr>
          <p:cNvPr id="3" name="矩形 2"/>
          <p:cNvSpPr/>
          <p:nvPr/>
        </p:nvSpPr>
        <p:spPr>
          <a:xfrm>
            <a:off x="-605959" y="16131"/>
            <a:ext cx="3387259" cy="627841"/>
          </a:xfrm>
          <a:prstGeom prst="rect">
            <a:avLst/>
          </a:prstGeom>
          <a:solidFill>
            <a:srgbClr val="486255">
              <a:alpha val="84000"/>
            </a:srgbClr>
          </a:solidFill>
          <a:ln>
            <a:noFill/>
          </a:ln>
          <a:effectLst>
            <a:softEdge rad="114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4973" y="-66970"/>
            <a:ext cx="242085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800" b="0" i="1" u="none" strike="noStrike" kern="1200" cap="none" spc="600" normalizeH="0" baseline="0" noProof="0" dirty="0">
                <a:ln>
                  <a:noFill/>
                </a:ln>
                <a:solidFill>
                  <a:srgbClr val="D28472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Lao Zi</a:t>
            </a:r>
            <a:endParaRPr kumimoji="0" lang="zh-CN" altLang="en-US" sz="4800" b="0" i="1" u="none" strike="noStrike" kern="1200" cap="none" spc="600" normalizeH="0" baseline="0" noProof="0" dirty="0">
              <a:ln>
                <a:noFill/>
              </a:ln>
              <a:solidFill>
                <a:srgbClr val="D28472"/>
              </a:solidFill>
              <a:effectLst/>
              <a:uLnTx/>
              <a:uFillTx/>
              <a:latin typeface="思源宋体 CN Heavy" panose="02020900000000000000" pitchFamily="18" charset="-122"/>
              <a:ea typeface="思源宋体 CN Heavy" panose="02020900000000000000" pitchFamily="18" charset="-122"/>
              <a:cs typeface="+mn-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169954" y="762852"/>
            <a:ext cx="5487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Sparse Population in a Small Country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（小国寡民）</a:t>
            </a:r>
          </a:p>
        </p:txBody>
      </p:sp>
      <p:sp>
        <p:nvSpPr>
          <p:cNvPr id="6" name="矩形 5"/>
          <p:cNvSpPr/>
          <p:nvPr/>
        </p:nvSpPr>
        <p:spPr>
          <a:xfrm>
            <a:off x="2505829" y="1186687"/>
            <a:ext cx="4644541" cy="228370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  <a:alpha val="70000"/>
                  </a:prstClr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 The people eat sweetly, dress beautifully, live comfortably, and live happily.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  <a:alpha val="70000"/>
                  </a:prstClr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Countries can see each other and hear the cries of chickens and dogs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.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FF0000">
                  <a:alpha val="70000"/>
                </a:srgbClr>
              </a:solidFill>
              <a:effectLst/>
              <a:uLnTx/>
              <a:uFillTx/>
              <a:latin typeface="Alibaba Sans" panose="020B0503020203040204" pitchFamily="34" charset="0"/>
              <a:ea typeface="等线" panose="02010600030101010101" charset="-122"/>
              <a:cs typeface="Alibaba Sans" panose="020B0503020203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70000"/>
                  </a:srgbClr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 but people do not interact with each other from birth to death.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>
                  <a:alpha val="70000"/>
                </a:srgbClr>
              </a:solidFill>
              <a:effectLst/>
              <a:uLnTx/>
              <a:uFillTx/>
              <a:latin typeface="Alibaba Sans" panose="020B0503020203040204" pitchFamily="34" charset="0"/>
              <a:ea typeface="等线" panose="02010600030101010101" charset="-122"/>
              <a:cs typeface="Alibaba Sans" panose="020B0503020203040204" pitchFamily="34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59055" y="4108450"/>
            <a:ext cx="6020435" cy="3091180"/>
          </a:xfrm>
          <a:prstGeom prst="rect">
            <a:avLst/>
          </a:prstGeom>
          <a:effectLst>
            <a:softEdge rad="165100"/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1117600" y="1065404"/>
            <a:ext cx="3245468" cy="333052"/>
          </a:xfrm>
          <a:prstGeom prst="rect">
            <a:avLst/>
          </a:prstGeom>
          <a:solidFill>
            <a:srgbClr val="D284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296988" y="1102615"/>
            <a:ext cx="28866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Game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libaba Sans" panose="020B0503020203040204" pitchFamily="34" charset="0"/>
              <a:ea typeface="等线" panose="02010600030101010101" charset="-122"/>
              <a:cs typeface="Alibaba Sans" panose="020B050302020304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720390" y="1860186"/>
            <a:ext cx="403988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400" b="0" i="1" u="none" strike="noStrike" kern="1200" cap="none" spc="600" normalizeH="0" baseline="0" noProof="0" dirty="0">
                <a:ln>
                  <a:noFill/>
                </a:ln>
                <a:solidFill>
                  <a:srgbClr val="D28472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Cyber Punk</a:t>
            </a:r>
            <a:endParaRPr kumimoji="0" lang="zh-CN" altLang="en-US" sz="4400" b="0" i="1" u="none" strike="noStrike" kern="1200" cap="none" spc="600" normalizeH="0" baseline="0" noProof="0" dirty="0">
              <a:ln>
                <a:noFill/>
              </a:ln>
              <a:solidFill>
                <a:srgbClr val="D28472"/>
              </a:solidFill>
              <a:effectLst/>
              <a:uLnTx/>
              <a:uFillTx/>
              <a:latin typeface="思源宋体 CN Heavy" panose="02020900000000000000" pitchFamily="18" charset="-122"/>
              <a:ea typeface="思源宋体 CN Heavy" panose="02020900000000000000" pitchFamily="18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24241" y="3893104"/>
            <a:ext cx="10289540" cy="20447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296988" y="4001678"/>
            <a:ext cx="9916793" cy="1827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In the world of cyber punk,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technology has become highly advanced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, and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robots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 and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artificial intelligence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can meet people's needs. However, there are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no legal constraints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, and people generally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思源宋体 CN ExtraLight" panose="02020200000000000000" pitchFamily="18" charset="-122"/>
                <a:ea typeface="思源宋体 CN ExtraLight" panose="02020200000000000000" pitchFamily="18" charset="-122"/>
                <a:cs typeface="Alibaba Sans Light" panose="020B0303020203040204" pitchFamily="34" charset="0"/>
              </a:rPr>
              <a:t>lack good education.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思源宋体 CN ExtraLight" panose="02020200000000000000" pitchFamily="18" charset="-122"/>
              <a:ea typeface="思源宋体 CN ExtraLight" panose="02020200000000000000" pitchFamily="18" charset="-122"/>
              <a:cs typeface="Alibaba Sans Light" panose="020B0303020203040204" pitchFamily="34" charset="0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180932" y="226473"/>
            <a:ext cx="6223668" cy="326742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85" y="388620"/>
            <a:ext cx="10556096" cy="593780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669391" y="455545"/>
            <a:ext cx="10544175" cy="5825240"/>
          </a:xfrm>
          <a:prstGeom prst="rect">
            <a:avLst/>
          </a:prstGeom>
          <a:solidFill>
            <a:srgbClr val="486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743359" y="873323"/>
            <a:ext cx="442653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               FIL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THT WANFERING EARTH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Heavy" panose="02020900000000000000" pitchFamily="18" charset="-122"/>
              <a:ea typeface="思源宋体 CN Heavy" panose="02020900000000000000" pitchFamily="18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040389" y="2289617"/>
            <a:ext cx="6212204" cy="22787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In the movie "Wandering Earth," technology is highly advanced but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70000"/>
                  </a:srgb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the Earth's environment is extremely bad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.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70000"/>
                  </a:srgb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People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 from all over the world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70000"/>
                  </a:srgb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unite closely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,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70000"/>
                  </a:srgb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work hard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, and hope to save their homes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70000"/>
                </a:prstClr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0300540" y="4901565"/>
            <a:ext cx="579120" cy="579120"/>
            <a:chOff x="6438900" y="838200"/>
            <a:chExt cx="914400" cy="914400"/>
          </a:xfrm>
        </p:grpSpPr>
        <p:sp>
          <p:nvSpPr>
            <p:cNvPr id="12" name="矩形 11"/>
            <p:cNvSpPr/>
            <p:nvPr/>
          </p:nvSpPr>
          <p:spPr>
            <a:xfrm>
              <a:off x="6438900" y="838200"/>
              <a:ext cx="914400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13" name="直接箭头连接符 12"/>
            <p:cNvCxnSpPr/>
            <p:nvPr/>
          </p:nvCxnSpPr>
          <p:spPr>
            <a:xfrm>
              <a:off x="6650355" y="1297305"/>
              <a:ext cx="489585" cy="0"/>
            </a:xfrm>
            <a:prstGeom prst="straightConnector1">
              <a:avLst/>
            </a:prstGeom>
            <a:ln w="25400" cap="rnd">
              <a:solidFill>
                <a:srgbClr val="D89687"/>
              </a:solidFill>
              <a:round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72"/>
          <a:stretch>
            <a:fillRect/>
          </a:stretch>
        </p:blipFill>
        <p:spPr bwMode="auto">
          <a:xfrm>
            <a:off x="1197197" y="1008349"/>
            <a:ext cx="3726110" cy="4367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椭圆 3"/>
          <p:cNvSpPr/>
          <p:nvPr/>
        </p:nvSpPr>
        <p:spPr>
          <a:xfrm>
            <a:off x="2133599" y="1942189"/>
            <a:ext cx="1582420" cy="1582420"/>
          </a:xfrm>
          <a:prstGeom prst="ellipse">
            <a:avLst/>
          </a:prstGeom>
          <a:solidFill>
            <a:srgbClr val="D896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字魂58号-创中黑" panose="00000500000000000000" pitchFamily="2" charset="-122"/>
              <a:ea typeface="字魂58号-创中黑" panose="00000500000000000000" pitchFamily="2" charset="-122"/>
              <a:cs typeface="+mn-cs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5304789" y="1942189"/>
            <a:ext cx="1582420" cy="1582420"/>
          </a:xfrm>
          <a:prstGeom prst="ellipse">
            <a:avLst/>
          </a:prstGeom>
          <a:solidFill>
            <a:srgbClr val="486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字魂58号-创中黑" panose="00000500000000000000" pitchFamily="2" charset="-122"/>
              <a:ea typeface="字魂58号-创中黑" panose="00000500000000000000" pitchFamily="2" charset="-122"/>
              <a:cs typeface="+mn-cs"/>
            </a:endParaRPr>
          </a:p>
        </p:txBody>
      </p:sp>
      <p:sp>
        <p:nvSpPr>
          <p:cNvPr id="6" name="椭圆 5"/>
          <p:cNvSpPr/>
          <p:nvPr/>
        </p:nvSpPr>
        <p:spPr>
          <a:xfrm>
            <a:off x="8298815" y="1942189"/>
            <a:ext cx="1582420" cy="1582420"/>
          </a:xfrm>
          <a:prstGeom prst="ellipse">
            <a:avLst/>
          </a:prstGeom>
          <a:solidFill>
            <a:srgbClr val="BDB6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字魂58号-创中黑" panose="00000500000000000000" pitchFamily="2" charset="-122"/>
              <a:ea typeface="字魂58号-创中黑" panose="00000500000000000000" pitchFamily="2" charset="-122"/>
              <a:cs typeface="+mn-cs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453379" y="850374"/>
            <a:ext cx="34471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800" b="0" i="1" u="none" strike="noStrike" kern="1200" cap="none" spc="600" normalizeH="0" baseline="0" noProof="0" dirty="0">
                <a:ln>
                  <a:noFill/>
                </a:ln>
                <a:solidFill>
                  <a:srgbClr val="D28472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Harmony</a:t>
            </a:r>
            <a:endParaRPr kumimoji="0" lang="zh-CN" altLang="en-US" sz="4800" b="0" i="1" u="none" strike="noStrike" kern="1200" cap="none" spc="600" normalizeH="0" baseline="0" noProof="0" dirty="0">
              <a:ln>
                <a:noFill/>
              </a:ln>
              <a:solidFill>
                <a:srgbClr val="D28472"/>
              </a:solidFill>
              <a:effectLst/>
              <a:uLnTx/>
              <a:uFillTx/>
              <a:latin typeface="思源宋体 CN Heavy" panose="02020900000000000000" pitchFamily="18" charset="-122"/>
              <a:ea typeface="思源宋体 CN Heavy" panose="02020900000000000000" pitchFamily="18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529262" y="1736913"/>
            <a:ext cx="1133476" cy="45719"/>
          </a:xfrm>
          <a:prstGeom prst="rect">
            <a:avLst/>
          </a:prstGeom>
          <a:solidFill>
            <a:srgbClr val="486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pic>
        <p:nvPicPr>
          <p:cNvPr id="17" name="图形 16"/>
          <p:cNvPicPr>
            <a:picLocks noChangeAspect="1"/>
          </p:cNvPicPr>
          <p:nvPr/>
        </p:nvPicPr>
        <p:blipFill>
          <a:blip r:embed="rId2" cstate="screen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47706" y="2356296"/>
            <a:ext cx="754205" cy="754205"/>
          </a:xfrm>
          <a:prstGeom prst="rect">
            <a:avLst/>
          </a:prstGeom>
        </p:spPr>
      </p:pic>
      <p:pic>
        <p:nvPicPr>
          <p:cNvPr id="19" name="图形 18"/>
          <p:cNvPicPr>
            <a:picLocks noChangeAspect="1"/>
          </p:cNvPicPr>
          <p:nvPr/>
        </p:nvPicPr>
        <p:blipFill>
          <a:blip r:embed="rId4" cstate="screen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12922" y="2356294"/>
            <a:ext cx="754205" cy="754205"/>
          </a:xfrm>
          <a:prstGeom prst="rect">
            <a:avLst/>
          </a:prstGeom>
        </p:spPr>
      </p:pic>
      <p:pic>
        <p:nvPicPr>
          <p:cNvPr id="21" name="图形 20"/>
          <p:cNvPicPr>
            <a:picLocks noChangeAspect="1"/>
          </p:cNvPicPr>
          <p:nvPr/>
        </p:nvPicPr>
        <p:blipFill>
          <a:blip r:embed="rId6" cstate="screen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18896" y="2356295"/>
            <a:ext cx="754205" cy="754205"/>
          </a:xfrm>
          <a:prstGeom prst="rect">
            <a:avLst/>
          </a:prstGeom>
        </p:spPr>
      </p:pic>
      <p:sp>
        <p:nvSpPr>
          <p:cNvPr id="22" name="矩形 21"/>
          <p:cNvSpPr/>
          <p:nvPr/>
        </p:nvSpPr>
        <p:spPr>
          <a:xfrm>
            <a:off x="1435695" y="4080814"/>
            <a:ext cx="2978226" cy="183556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  <a:alpha val="70000"/>
                  </a:prstClr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People from all over the world can unite, love, and help each other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  <a:alpha val="70000"/>
                </a:prstClr>
              </a:solidFill>
              <a:effectLst/>
              <a:uLnTx/>
              <a:uFillTx/>
              <a:latin typeface="Alibaba Sans" panose="020B0503020203040204" pitchFamily="34" charset="0"/>
              <a:ea typeface="等线" panose="02010600030101010101" charset="-122"/>
              <a:cs typeface="Alibaba Sans" panose="020B0503020203040204" pitchFamily="34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606885" y="4080814"/>
            <a:ext cx="2978226" cy="183556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  <a:alpha val="70000"/>
                  </a:prstClr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Social security is stable, and people receive good education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  <a:alpha val="70000"/>
                </a:prstClr>
              </a:solidFill>
              <a:effectLst/>
              <a:uLnTx/>
              <a:uFillTx/>
              <a:latin typeface="Alibaba Sans" panose="020B0503020203040204" pitchFamily="34" charset="0"/>
              <a:ea typeface="等线" panose="02010600030101010101" charset="-122"/>
              <a:cs typeface="Alibaba Sans" panose="020B0503020203040204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7661871" y="4080814"/>
            <a:ext cx="2978226" cy="22787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  <a:alpha val="70000"/>
                  </a:prstClr>
                </a:solidFill>
                <a:effectLst/>
                <a:uLnTx/>
                <a:uFillTx/>
                <a:latin typeface="Alibaba Sans" panose="020B0503020203040204" pitchFamily="34" charset="0"/>
                <a:ea typeface="等线" panose="02010600030101010101" charset="-122"/>
                <a:cs typeface="Alibaba Sans" panose="020B0503020203040204" pitchFamily="34" charset="0"/>
              </a:rPr>
              <a:t>In society, technology is advanced, the environment is livable, and people's various needs are met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  <a:alpha val="70000"/>
                </a:prstClr>
              </a:solidFill>
              <a:effectLst/>
              <a:uLnTx/>
              <a:uFillTx/>
              <a:latin typeface="Alibaba Sans" panose="020B0503020203040204" pitchFamily="34" charset="0"/>
              <a:ea typeface="等线" panose="02010600030101010101" charset="-122"/>
              <a:cs typeface="Alibaba Sans" panose="020B050302020304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444169" y="1838558"/>
            <a:ext cx="9906001" cy="1463040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CN SemiBold" panose="02020600000000000000" pitchFamily="18" charset="-122"/>
                <a:ea typeface="思源宋体 CN SemiBold" panose="02020600000000000000" pitchFamily="18" charset="-122"/>
                <a:cs typeface="+mn-cs"/>
              </a:rPr>
              <a:t>The social harmony </a:t>
            </a:r>
            <a:br>
              <a:rPr kumimoji="0" lang="en-US" altLang="zh-CN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CN SemiBold" panose="02020600000000000000" pitchFamily="18" charset="-122"/>
                <a:ea typeface="思源宋体 CN SemiBold" panose="02020600000000000000" pitchFamily="18" charset="-122"/>
                <a:cs typeface="+mn-cs"/>
              </a:rPr>
            </a:br>
            <a:r>
              <a:rPr kumimoji="0" lang="en-US" altLang="zh-CN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CN SemiBold" panose="02020600000000000000" pitchFamily="18" charset="-122"/>
                <a:ea typeface="思源宋体 CN SemiBold" panose="02020600000000000000" pitchFamily="18" charset="-122"/>
                <a:cs typeface="+mn-cs"/>
              </a:rPr>
              <a:t>     in China</a:t>
            </a:r>
            <a:endParaRPr kumimoji="0" lang="zh-CN" altLang="en-US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思源宋体 CN SemiBold" panose="02020600000000000000" pitchFamily="18" charset="-122"/>
              <a:ea typeface="思源宋体 CN SemiBold" panose="02020600000000000000" pitchFamily="18" charset="-122"/>
              <a:cs typeface="+mn-cs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91109" y="885337"/>
            <a:ext cx="8051801" cy="508703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10600030101010101" charset="-122"/>
                <a:ea typeface="思源宋体 CN SemiBold" panose="02020600000000000000" pitchFamily="18" charset="-122"/>
                <a:cs typeface="+mn-cs"/>
              </a:rPr>
              <a:t>Part 02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10600030101010101" charset="-122"/>
              <a:ea typeface="思源宋体 CN SemiBold" panose="02020600000000000000" pitchFamily="18" charset="-122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文本框 26"/>
          <p:cNvSpPr txBox="1"/>
          <p:nvPr/>
        </p:nvSpPr>
        <p:spPr>
          <a:xfrm>
            <a:off x="5275253" y="380923"/>
            <a:ext cx="69215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1" u="none" strike="noStrike" kern="1200" cap="none" spc="60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Economic Development and Poverty Alleviation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3874419" y="2245305"/>
            <a:ext cx="7995553" cy="1815882"/>
          </a:xfrm>
          <a:prstGeom prst="rect">
            <a:avLst/>
          </a:prstGeom>
          <a:solidFill>
            <a:schemeClr val="bg1">
              <a:alpha val="39000"/>
            </a:scheme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softEdge rad="165100"/>
          </a:effectLst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Improvement in living standards 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Strengthening social stability and cohesion 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Addressing imbalanced urban-rural development○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…  … ○</a:t>
            </a:r>
          </a:p>
        </p:txBody>
      </p:sp>
      <p:sp>
        <p:nvSpPr>
          <p:cNvPr id="29" name="矩形 28"/>
          <p:cNvSpPr/>
          <p:nvPr/>
        </p:nvSpPr>
        <p:spPr>
          <a:xfrm>
            <a:off x="3292577" y="-6897756"/>
            <a:ext cx="9159239" cy="5964305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3853016" y="-6661821"/>
            <a:ext cx="82610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Economic Development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Poverty Alleviation</a:t>
            </a:r>
          </a:p>
        </p:txBody>
      </p:sp>
      <p:sp>
        <p:nvSpPr>
          <p:cNvPr id="31" name="矩形 30"/>
          <p:cNvSpPr/>
          <p:nvPr/>
        </p:nvSpPr>
        <p:spPr>
          <a:xfrm>
            <a:off x="3853016" y="-5151254"/>
            <a:ext cx="7351867" cy="3007618"/>
          </a:xfrm>
          <a:prstGeom prst="rect">
            <a:avLst/>
          </a:prstGeom>
          <a:solidFill>
            <a:schemeClr val="bg1">
              <a:alpha val="39000"/>
            </a:schemeClr>
          </a:solidFill>
          <a:effectLst>
            <a:softEdge rad="533400"/>
          </a:effectLst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According to official data, China has achieved comprehensive poverty eradication by 2020, marking a historic milestone that significantly improved the living standards of millions of people. 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alpha val="70000"/>
                </a:schemeClr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11538790" y="-2451735"/>
            <a:ext cx="579120" cy="579120"/>
            <a:chOff x="6438900" y="838200"/>
            <a:chExt cx="914400" cy="914400"/>
          </a:xfrm>
        </p:grpSpPr>
        <p:sp>
          <p:nvSpPr>
            <p:cNvPr id="33" name="矩形 32"/>
            <p:cNvSpPr/>
            <p:nvPr/>
          </p:nvSpPr>
          <p:spPr>
            <a:xfrm>
              <a:off x="6438900" y="838200"/>
              <a:ext cx="914400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34" name="直接箭头连接符 33"/>
            <p:cNvCxnSpPr/>
            <p:nvPr/>
          </p:nvCxnSpPr>
          <p:spPr>
            <a:xfrm>
              <a:off x="6650355" y="1297305"/>
              <a:ext cx="489585" cy="0"/>
            </a:xfrm>
            <a:prstGeom prst="straightConnector1">
              <a:avLst/>
            </a:prstGeom>
            <a:ln w="25400" cap="rnd">
              <a:solidFill>
                <a:srgbClr val="D89687"/>
              </a:solidFill>
              <a:round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35" name="任意多边形: 形状 34"/>
          <p:cNvSpPr/>
          <p:nvPr/>
        </p:nvSpPr>
        <p:spPr>
          <a:xfrm rot="18724761">
            <a:off x="-6668383" y="-1664650"/>
            <a:ext cx="10440000" cy="10440000"/>
          </a:xfrm>
          <a:custGeom>
            <a:avLst/>
            <a:gdLst>
              <a:gd name="connsiteX0" fmla="*/ 5916343 w 7904349"/>
              <a:gd name="connsiteY0" fmla="*/ 4189628 h 7904592"/>
              <a:gd name="connsiteX1" fmla="*/ 7904349 w 7904349"/>
              <a:gd name="connsiteY1" fmla="*/ 4189628 h 7904592"/>
              <a:gd name="connsiteX2" fmla="*/ 7894186 w 7904349"/>
              <a:gd name="connsiteY2" fmla="*/ 4332200 h 7904592"/>
              <a:gd name="connsiteX3" fmla="*/ 4357061 w 7904349"/>
              <a:gd name="connsiteY3" fmla="*/ 7891851 h 7904592"/>
              <a:gd name="connsiteX4" fmla="*/ 4189506 w 7904349"/>
              <a:gd name="connsiteY4" fmla="*/ 7904592 h 7904592"/>
              <a:gd name="connsiteX5" fmla="*/ 4189506 w 7904349"/>
              <a:gd name="connsiteY5" fmla="*/ 5916749 h 7904592"/>
              <a:gd name="connsiteX6" fmla="*/ 4351213 w 7904349"/>
              <a:gd name="connsiteY6" fmla="*/ 5892070 h 7904592"/>
              <a:gd name="connsiteX7" fmla="*/ 5901249 w 7904349"/>
              <a:gd name="connsiteY7" fmla="*/ 4302789 h 7904592"/>
              <a:gd name="connsiteX8" fmla="*/ 0 w 7904349"/>
              <a:gd name="connsiteY8" fmla="*/ 4189628 h 7904592"/>
              <a:gd name="connsiteX9" fmla="*/ 1988006 w 7904349"/>
              <a:gd name="connsiteY9" fmla="*/ 4189628 h 7904592"/>
              <a:gd name="connsiteX10" fmla="*/ 2003100 w 7904349"/>
              <a:gd name="connsiteY10" fmla="*/ 4302789 h 7904592"/>
              <a:gd name="connsiteX11" fmla="*/ 3553135 w 7904349"/>
              <a:gd name="connsiteY11" fmla="*/ 5892070 h 7904592"/>
              <a:gd name="connsiteX12" fmla="*/ 3714842 w 7904349"/>
              <a:gd name="connsiteY12" fmla="*/ 5916749 h 7904592"/>
              <a:gd name="connsiteX13" fmla="*/ 3714842 w 7904349"/>
              <a:gd name="connsiteY13" fmla="*/ 7904592 h 7904592"/>
              <a:gd name="connsiteX14" fmla="*/ 3547287 w 7904349"/>
              <a:gd name="connsiteY14" fmla="*/ 7891851 h 7904592"/>
              <a:gd name="connsiteX15" fmla="*/ 10162 w 7904349"/>
              <a:gd name="connsiteY15" fmla="*/ 4332200 h 7904592"/>
              <a:gd name="connsiteX16" fmla="*/ 4189506 w 7904349"/>
              <a:gd name="connsiteY16" fmla="*/ 0 h 7904592"/>
              <a:gd name="connsiteX17" fmla="*/ 4357061 w 7904349"/>
              <a:gd name="connsiteY17" fmla="*/ 12741 h 7904592"/>
              <a:gd name="connsiteX18" fmla="*/ 7894186 w 7904349"/>
              <a:gd name="connsiteY18" fmla="*/ 3572393 h 7904592"/>
              <a:gd name="connsiteX19" fmla="*/ 7904349 w 7904349"/>
              <a:gd name="connsiteY19" fmla="*/ 3714964 h 7904592"/>
              <a:gd name="connsiteX20" fmla="*/ 5916343 w 7904349"/>
              <a:gd name="connsiteY20" fmla="*/ 3714964 h 7904592"/>
              <a:gd name="connsiteX21" fmla="*/ 5901249 w 7904349"/>
              <a:gd name="connsiteY21" fmla="*/ 3601803 h 7904592"/>
              <a:gd name="connsiteX22" fmla="*/ 4351213 w 7904349"/>
              <a:gd name="connsiteY22" fmla="*/ 2012523 h 7904592"/>
              <a:gd name="connsiteX23" fmla="*/ 4189506 w 7904349"/>
              <a:gd name="connsiteY23" fmla="*/ 1987843 h 7904592"/>
              <a:gd name="connsiteX24" fmla="*/ 3714842 w 7904349"/>
              <a:gd name="connsiteY24" fmla="*/ 0 h 7904592"/>
              <a:gd name="connsiteX25" fmla="*/ 3714842 w 7904349"/>
              <a:gd name="connsiteY25" fmla="*/ 1987843 h 7904592"/>
              <a:gd name="connsiteX26" fmla="*/ 3553135 w 7904349"/>
              <a:gd name="connsiteY26" fmla="*/ 2012523 h 7904592"/>
              <a:gd name="connsiteX27" fmla="*/ 2003100 w 7904349"/>
              <a:gd name="connsiteY27" fmla="*/ 3601803 h 7904592"/>
              <a:gd name="connsiteX28" fmla="*/ 1988006 w 7904349"/>
              <a:gd name="connsiteY28" fmla="*/ 3714964 h 7904592"/>
              <a:gd name="connsiteX29" fmla="*/ 0 w 7904349"/>
              <a:gd name="connsiteY29" fmla="*/ 3714964 h 7904592"/>
              <a:gd name="connsiteX30" fmla="*/ 10162 w 7904349"/>
              <a:gd name="connsiteY30" fmla="*/ 3572393 h 7904592"/>
              <a:gd name="connsiteX31" fmla="*/ 3547287 w 7904349"/>
              <a:gd name="connsiteY31" fmla="*/ 12741 h 790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904349" h="7904592">
                <a:moveTo>
                  <a:pt x="5916343" y="4189628"/>
                </a:moveTo>
                <a:lnTo>
                  <a:pt x="7904349" y="4189628"/>
                </a:lnTo>
                <a:lnTo>
                  <a:pt x="7894186" y="4332200"/>
                </a:lnTo>
                <a:cubicBezTo>
                  <a:pt x="7715678" y="6207659"/>
                  <a:pt x="6229112" y="7701734"/>
                  <a:pt x="4357061" y="7891851"/>
                </a:cubicBezTo>
                <a:lnTo>
                  <a:pt x="4189506" y="7904592"/>
                </a:lnTo>
                <a:lnTo>
                  <a:pt x="4189506" y="5916749"/>
                </a:lnTo>
                <a:lnTo>
                  <a:pt x="4351213" y="5892070"/>
                </a:lnTo>
                <a:cubicBezTo>
                  <a:pt x="5140685" y="5730521"/>
                  <a:pt x="5759004" y="5099119"/>
                  <a:pt x="5901249" y="4302789"/>
                </a:cubicBezTo>
                <a:close/>
                <a:moveTo>
                  <a:pt x="0" y="4189628"/>
                </a:moveTo>
                <a:lnTo>
                  <a:pt x="1988006" y="4189628"/>
                </a:lnTo>
                <a:lnTo>
                  <a:pt x="2003100" y="4302789"/>
                </a:lnTo>
                <a:cubicBezTo>
                  <a:pt x="2145344" y="5099119"/>
                  <a:pt x="2763664" y="5730521"/>
                  <a:pt x="3553135" y="5892070"/>
                </a:cubicBezTo>
                <a:lnTo>
                  <a:pt x="3714842" y="5916749"/>
                </a:lnTo>
                <a:lnTo>
                  <a:pt x="3714842" y="7904592"/>
                </a:lnTo>
                <a:lnTo>
                  <a:pt x="3547287" y="7891851"/>
                </a:lnTo>
                <a:cubicBezTo>
                  <a:pt x="1675236" y="7701734"/>
                  <a:pt x="188670" y="6207659"/>
                  <a:pt x="10162" y="4332200"/>
                </a:cubicBezTo>
                <a:close/>
                <a:moveTo>
                  <a:pt x="4189506" y="0"/>
                </a:moveTo>
                <a:lnTo>
                  <a:pt x="4357061" y="12741"/>
                </a:lnTo>
                <a:cubicBezTo>
                  <a:pt x="6229112" y="202858"/>
                  <a:pt x="7715678" y="1696933"/>
                  <a:pt x="7894186" y="3572393"/>
                </a:cubicBezTo>
                <a:lnTo>
                  <a:pt x="7904349" y="3714964"/>
                </a:lnTo>
                <a:lnTo>
                  <a:pt x="5916343" y="3714964"/>
                </a:lnTo>
                <a:lnTo>
                  <a:pt x="5901249" y="3601803"/>
                </a:lnTo>
                <a:cubicBezTo>
                  <a:pt x="5759004" y="2805473"/>
                  <a:pt x="5140685" y="2174072"/>
                  <a:pt x="4351213" y="2012523"/>
                </a:cubicBezTo>
                <a:lnTo>
                  <a:pt x="4189506" y="1987843"/>
                </a:lnTo>
                <a:close/>
                <a:moveTo>
                  <a:pt x="3714842" y="0"/>
                </a:moveTo>
                <a:lnTo>
                  <a:pt x="3714842" y="1987843"/>
                </a:lnTo>
                <a:lnTo>
                  <a:pt x="3553135" y="2012523"/>
                </a:lnTo>
                <a:cubicBezTo>
                  <a:pt x="2763664" y="2174072"/>
                  <a:pt x="2145344" y="2805473"/>
                  <a:pt x="2003100" y="3601803"/>
                </a:cubicBezTo>
                <a:lnTo>
                  <a:pt x="1988006" y="3714964"/>
                </a:lnTo>
                <a:lnTo>
                  <a:pt x="0" y="3714964"/>
                </a:lnTo>
                <a:lnTo>
                  <a:pt x="10162" y="3572393"/>
                </a:lnTo>
                <a:cubicBezTo>
                  <a:pt x="188670" y="1696933"/>
                  <a:pt x="1675236" y="202858"/>
                  <a:pt x="3547287" y="12741"/>
                </a:cubicBezTo>
                <a:close/>
              </a:path>
            </a:pathLst>
          </a:custGeom>
          <a:ln>
            <a:noFill/>
          </a:ln>
          <a:effectLst>
            <a:outerShdw blurRad="546100" sx="102000" sy="102000" algn="ctr" rotWithShape="0">
              <a:prstClr val="black">
                <a:alpha val="67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3522012" y="-13398816"/>
            <a:ext cx="83057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Improvement in Social Governance</a:t>
            </a:r>
          </a:p>
        </p:txBody>
      </p:sp>
      <p:sp>
        <p:nvSpPr>
          <p:cNvPr id="37" name="矩形 36"/>
          <p:cNvSpPr/>
          <p:nvPr/>
        </p:nvSpPr>
        <p:spPr>
          <a:xfrm>
            <a:off x="3522012" y="-12253533"/>
            <a:ext cx="8034454" cy="2408736"/>
          </a:xfrm>
          <a:prstGeom prst="rect">
            <a:avLst/>
          </a:prstGeom>
          <a:solidFill>
            <a:schemeClr val="bg1">
              <a:alpha val="40000"/>
            </a:schemeClr>
          </a:solidFill>
          <a:effectLst>
            <a:softEdge rad="342900"/>
          </a:effectLst>
        </p:spPr>
        <p:txBody>
          <a:bodyPr vert="horz"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Implementation of policies and measures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kumimoji="0" lang="en-US" altLang="zh-CN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Establishment of a sound legal system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endParaRPr kumimoji="0" lang="en-US" altLang="zh-CN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Enhancing grassroots governance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○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libaba Sans Light" panose="020B0303020203040204" pitchFamily="34" charset="0"/>
                <a:ea typeface="等线" panose="02010600030101010101" charset="-122"/>
                <a:cs typeface="Alibaba Sans Light" panose="020B0303020203040204" pitchFamily="34" charset="0"/>
              </a:rPr>
              <a:t>and community construction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kumimoji="0" lang="en-US" altLang="zh-CN" sz="3200" b="1" i="0" u="none" strike="noStrike" kern="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○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libaba Sans Light" panose="020B0303020203040204" pitchFamily="34" charset="0"/>
              <a:ea typeface="等线" panose="02010600030101010101" charset="-122"/>
              <a:cs typeface="Alibaba Sans Light" panose="020B030302020304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TZkMzg1ZGUwZTAwN2JkMjM0ZmQ0ZGFiYjNkNjU2NjAifQ==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ont">
      <a:majorFont>
        <a:latin typeface="等线 Light"/>
        <a:ea typeface="等线 Light"/>
        <a:cs typeface=""/>
      </a:majorFont>
      <a:minorFont>
        <a:latin typeface="等线"/>
        <a:ea typeface="等线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ont">
      <a:majorFont>
        <a:latin typeface="等线 Light"/>
        <a:ea typeface="等线 Light"/>
        <a:cs typeface=""/>
      </a:majorFont>
      <a:minorFont>
        <a:latin typeface="等线"/>
        <a:ea typeface="等线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ont">
      <a:majorFont>
        <a:latin typeface="等线 Light"/>
        <a:ea typeface="等线 Light"/>
        <a:cs typeface=""/>
      </a:majorFont>
      <a:minorFont>
        <a:latin typeface="等线"/>
        <a:ea typeface="等线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28</TotalTime>
  <Words>1151</Words>
  <Application>Microsoft Office PowerPoint</Application>
  <PresentationFormat>宽屏</PresentationFormat>
  <Paragraphs>172</Paragraphs>
  <Slides>2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49" baseType="lpstr">
      <vt:lpstr>Alibaba Sans</vt:lpstr>
      <vt:lpstr>Alibaba Sans Light</vt:lpstr>
      <vt:lpstr>CommercialScript BT</vt:lpstr>
      <vt:lpstr>等线</vt:lpstr>
      <vt:lpstr>等线 Light</vt:lpstr>
      <vt:lpstr>华文仿宋</vt:lpstr>
      <vt:lpstr>华文细黑</vt:lpstr>
      <vt:lpstr>思源宋体 CN ExtraLight</vt:lpstr>
      <vt:lpstr>思源宋体 CN Heavy</vt:lpstr>
      <vt:lpstr>思源宋体 CN SemiBold</vt:lpstr>
      <vt:lpstr>微软雅黑</vt:lpstr>
      <vt:lpstr>微软雅黑 Light</vt:lpstr>
      <vt:lpstr>字魂58号-创中黑</vt:lpstr>
      <vt:lpstr>Arial</vt:lpstr>
      <vt:lpstr>Arial Black</vt:lpstr>
      <vt:lpstr>Calibri</vt:lpstr>
      <vt:lpstr>MV Boli</vt:lpstr>
      <vt:lpstr>Wingdings</vt:lpstr>
      <vt:lpstr>Office 主题​​</vt:lpstr>
      <vt:lpstr>1_Office 主题​​</vt:lpstr>
      <vt:lpstr>2_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e social harmony       in China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e importance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王 再玄</dc:creator>
  <cp:lastModifiedBy>hao hu</cp:lastModifiedBy>
  <cp:revision>49</cp:revision>
  <dcterms:created xsi:type="dcterms:W3CDTF">2019-11-27T06:07:00Z</dcterms:created>
  <dcterms:modified xsi:type="dcterms:W3CDTF">2024-04-22T16:0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16120</vt:lpwstr>
  </property>
  <property fmtid="{D5CDD505-2E9C-101B-9397-08002B2CF9AE}" pid="3" name="ICV">
    <vt:lpwstr>1E622096EC6A41719BD22649A7696C05_12</vt:lpwstr>
  </property>
</Properties>
</file>